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5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61" r:id="rId5"/>
    <p:sldMasterId id="2147483806" r:id="rId6"/>
    <p:sldMasterId id="2147483862" r:id="rId7"/>
    <p:sldMasterId id="2147483889" r:id="rId8"/>
    <p:sldMasterId id="2147483901" r:id="rId9"/>
  </p:sldMasterIdLst>
  <p:notesMasterIdLst>
    <p:notesMasterId r:id="rId42"/>
  </p:notesMasterIdLst>
  <p:sldIdLst>
    <p:sldId id="282" r:id="rId10"/>
    <p:sldId id="2145707597" r:id="rId11"/>
    <p:sldId id="2145707598" r:id="rId12"/>
    <p:sldId id="2145707599" r:id="rId13"/>
    <p:sldId id="2145707580" r:id="rId14"/>
    <p:sldId id="2145707578" r:id="rId15"/>
    <p:sldId id="2145707533" r:id="rId16"/>
    <p:sldId id="2145707585" r:id="rId17"/>
    <p:sldId id="2126986737" r:id="rId18"/>
    <p:sldId id="2145707583" r:id="rId19"/>
    <p:sldId id="2145707577" r:id="rId20"/>
    <p:sldId id="2145707495" r:id="rId21"/>
    <p:sldId id="2145707572" r:id="rId22"/>
    <p:sldId id="2145707569" r:id="rId23"/>
    <p:sldId id="2145707568" r:id="rId24"/>
    <p:sldId id="2145707570" r:id="rId25"/>
    <p:sldId id="2145707567" r:id="rId26"/>
    <p:sldId id="2145707576" r:id="rId27"/>
    <p:sldId id="2145707531" r:id="rId28"/>
    <p:sldId id="2145707553" r:id="rId29"/>
    <p:sldId id="2145707596" r:id="rId30"/>
    <p:sldId id="507" r:id="rId31"/>
    <p:sldId id="2145707582" r:id="rId32"/>
    <p:sldId id="2145707588" r:id="rId33"/>
    <p:sldId id="2145707581" r:id="rId34"/>
    <p:sldId id="2145707589" r:id="rId35"/>
    <p:sldId id="2145707590" r:id="rId36"/>
    <p:sldId id="2145707591" r:id="rId37"/>
    <p:sldId id="2145707592" r:id="rId38"/>
    <p:sldId id="2145707593" r:id="rId39"/>
    <p:sldId id="2145707594" r:id="rId40"/>
    <p:sldId id="2145707595" r:id="rId41"/>
  </p:sldIdLst>
  <p:sldSz cx="12192000" cy="6858000"/>
  <p:notesSz cx="7010400" cy="92964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S Branded" id="{A57946C2-D779-6C46-A69B-350A90ACC537}">
          <p14:sldIdLst>
            <p14:sldId id="282"/>
            <p14:sldId id="2145707597"/>
            <p14:sldId id="2145707598"/>
            <p14:sldId id="2145707599"/>
            <p14:sldId id="2145707580"/>
            <p14:sldId id="2145707578"/>
            <p14:sldId id="2145707533"/>
            <p14:sldId id="2145707585"/>
            <p14:sldId id="2126986737"/>
            <p14:sldId id="2145707583"/>
            <p14:sldId id="2145707577"/>
            <p14:sldId id="2145707495"/>
            <p14:sldId id="2145707572"/>
            <p14:sldId id="2145707569"/>
            <p14:sldId id="2145707568"/>
            <p14:sldId id="2145707570"/>
            <p14:sldId id="2145707567"/>
            <p14:sldId id="2145707576"/>
            <p14:sldId id="2145707531"/>
            <p14:sldId id="2145707553"/>
            <p14:sldId id="2145707596"/>
            <p14:sldId id="507"/>
            <p14:sldId id="2145707582"/>
            <p14:sldId id="2145707588"/>
            <p14:sldId id="2145707581"/>
          </p14:sldIdLst>
        </p14:section>
        <p14:section name="Workflow Example - Shipment Verification" id="{87AAA46F-323A-ED49-BC00-DF9A1967E7CB}">
          <p14:sldIdLst>
            <p14:sldId id="2145707589"/>
            <p14:sldId id="2145707590"/>
            <p14:sldId id="2145707591"/>
            <p14:sldId id="2145707592"/>
            <p14:sldId id="2145707593"/>
            <p14:sldId id="2145707594"/>
            <p14:sldId id="21457075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4299" userDrawn="1">
          <p15:clr>
            <a:srgbClr val="A4A3A4"/>
          </p15:clr>
        </p15:guide>
        <p15:guide id="3" pos="7355" userDrawn="1">
          <p15:clr>
            <a:srgbClr val="A4A3A4"/>
          </p15:clr>
        </p15:guide>
        <p15:guide id="4" orient="horz" pos="3952" userDrawn="1">
          <p15:clr>
            <a:srgbClr val="A4A3A4"/>
          </p15:clr>
        </p15:guide>
        <p15:guide id="6" pos="1005" userDrawn="1">
          <p15:clr>
            <a:srgbClr val="A4A3A4"/>
          </p15:clr>
        </p15:guide>
        <p15:guide id="7" pos="3772" userDrawn="1">
          <p15:clr>
            <a:srgbClr val="A4A3A4"/>
          </p15:clr>
        </p15:guide>
        <p15:guide id="8" pos="6675" userDrawn="1">
          <p15:clr>
            <a:srgbClr val="A4A3A4"/>
          </p15:clr>
        </p15:guide>
        <p15:guide id="9" pos="4294" userDrawn="1">
          <p15:clr>
            <a:srgbClr val="A4A3A4"/>
          </p15:clr>
        </p15:guide>
        <p15:guide id="10" pos="3817" userDrawn="1">
          <p15:clr>
            <a:srgbClr val="A4A3A4"/>
          </p15:clr>
        </p15:guide>
        <p15:guide id="11" orient="horz" pos="24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27A031-0327-D106-EABD-1668799E9212}" name="Rich Nemesi" initials="RN" userId="S::rnemesi@slsrfid.com::1111c4ba-aeb4-490e-b9a9-40e8db3004d7" providerId="AD"/>
  <p188:author id="{76A9135E-5ABA-8481-3012-F5BE968222DF}" name="John Cooke" initials="" userId="S::jcooke@slsrfid.com::84c0bab2-5520-4c79-8809-64601179d836" providerId="AD"/>
  <p188:author id="{31CC0D73-7569-24F2-8141-DFB23C891D0B}" name="David Slater" initials="DS" userId="S::dslater@barcodesinc.com::f9de18a8-5663-4549-bf0a-cd9bed48cda8" providerId="AD"/>
  <p188:author id="{6D4ECF8B-3CCA-0C56-8FD7-14E0591B191D}" name="Dan Nettesheim" initials="DN" userId="S::dnettesheim@barcodesinc.com::2c7e138c-de02-40ce-9252-dd3aeece9a3e" providerId="AD"/>
  <p188:author id="{BDAE1C95-0030-C76A-A916-78849416234E}" name="Manthan Pawar" initials="MP" userId="S::mpawar@barcodesinc.com::b49d159c-4f38-418c-b3f5-ab0535fbde40" providerId="AD"/>
  <p188:author id="{56CD0FCF-A079-838B-9E92-82ACADD5F82E}" name="Tom O'Boyle" initials="TO" userId="S::toboyle@barcodesinc.com::2e5e03b3-dbae-482d-9910-905a2896b224" providerId="AD"/>
  <p188:author id="{AD824CE2-6011-CAFF-21FC-25C726AD79F8}" name="Trevor Kennedy" initials="TK" userId="S::TKennedy@digitalid.co.uk::dbbe08f0-83b8-4192-97cf-dc2478c6205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E2C9B1"/>
    <a:srgbClr val="EED202"/>
    <a:srgbClr val="FF5F1F"/>
    <a:srgbClr val="2D2E34"/>
    <a:srgbClr val="7B7FF4"/>
    <a:srgbClr val="7198EF"/>
    <a:srgbClr val="6BBDF3"/>
    <a:srgbClr val="7C5AE8"/>
    <a:srgbClr val="7776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750AE6-1619-CB4A-9BFB-D12654D8CF6D}" v="2" dt="2024-02-23T18:35:19.5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76"/>
    <p:restoredTop sz="94719"/>
  </p:normalViewPr>
  <p:slideViewPr>
    <p:cSldViewPr snapToGrid="0">
      <p:cViewPr varScale="1">
        <p:scale>
          <a:sx n="147" d="100"/>
          <a:sy n="147" d="100"/>
        </p:scale>
        <p:origin x="1376" y="200"/>
      </p:cViewPr>
      <p:guideLst>
        <p:guide orient="horz" pos="731"/>
        <p:guide pos="4299"/>
        <p:guide pos="7355"/>
        <p:guide orient="horz" pos="3952"/>
        <p:guide pos="1005"/>
        <p:guide pos="3772"/>
        <p:guide pos="6675"/>
        <p:guide pos="4294"/>
        <p:guide pos="3817"/>
        <p:guide orient="horz" pos="243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tags" Target="tags/tag1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theme" Target="theme/theme1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0137EFE-2262-420A-BAF6-183F3390668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EF73938-461C-4997-9565-4EEE580291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211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28" userDrawn="1">
          <p15:clr>
            <a:srgbClr val="F26B43"/>
          </p15:clr>
        </p15:guide>
        <p15:guide id="2" pos="220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tes:</a:t>
            </a:r>
          </a:p>
          <a:p>
            <a:r>
              <a:rPr lang="en-US"/>
              <a:t> </a:t>
            </a:r>
          </a:p>
          <a:p>
            <a:r>
              <a:rPr lang="en-US"/>
              <a:t>Gaps:</a:t>
            </a:r>
          </a:p>
          <a:p>
            <a:r>
              <a:rPr lang="en-US"/>
              <a:t>1. Wording around best-in-class RFID solution</a:t>
            </a:r>
          </a:p>
          <a:p>
            <a:r>
              <a:rPr lang="en-US"/>
              <a:t>2. Better graphics: better designer graphics – Pass through @Dave</a:t>
            </a:r>
          </a:p>
          <a:p>
            <a:r>
              <a:rPr lang="en-US"/>
              <a:t>3. Slide focused on Supply chain visibility callout: zoom out of application -&gt; piece of apparel – scan at the tunnel, cycle count, shipment verification.  - Digital DNA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73938-461C-4997-9565-4EEE5802915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9564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30B4FB-AE2A-469E-AFF2-6C6C53E9291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2385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48E921-55B2-44EA-A4F6-E3384462CE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05975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header that SLS manage solution works across the value ch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48E921-55B2-44EA-A4F6-E3384462CE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485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/>
              <a:t>Change Title Style</a:t>
            </a:r>
          </a:p>
          <a:p>
            <a:pPr marL="228600" indent="-228600">
              <a:buAutoNum type="arabicPeriod"/>
            </a:pPr>
            <a:r>
              <a:rPr lang="en-US"/>
              <a:t>Combine the text on left to right (reduce the text on right)</a:t>
            </a:r>
          </a:p>
          <a:p>
            <a:pPr marL="228600" indent="-228600">
              <a:buAutoNum type="arabicPeriod"/>
            </a:pPr>
            <a:endParaRPr lang="en-US"/>
          </a:p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2F55CA-F95B-4BD1-BD77-2A126E877F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450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73938-461C-4997-9565-4EEE5802915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556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“</a:t>
            </a:r>
            <a:r>
              <a:rPr lang="pt-BR" err="1"/>
              <a:t>Companies</a:t>
            </a:r>
            <a:r>
              <a:rPr lang="pt-BR"/>
              <a:t> </a:t>
            </a:r>
            <a:r>
              <a:rPr lang="pt-BR" err="1"/>
              <a:t>adopt</a:t>
            </a:r>
            <a:r>
              <a:rPr lang="pt-BR"/>
              <a:t> RFID </a:t>
            </a:r>
            <a:r>
              <a:rPr lang="pt-BR" err="1"/>
              <a:t>but</a:t>
            </a:r>
            <a:r>
              <a:rPr lang="pt-BR"/>
              <a:t> </a:t>
            </a:r>
            <a:r>
              <a:rPr lang="pt-BR" err="1"/>
              <a:t>don’t</a:t>
            </a:r>
            <a:r>
              <a:rPr lang="pt-BR"/>
              <a:t> observe its full </a:t>
            </a:r>
            <a:r>
              <a:rPr lang="pt-BR" err="1"/>
              <a:t>potential</a:t>
            </a:r>
            <a:r>
              <a:rPr lang="pt-BR"/>
              <a:t>”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73938-461C-4997-9565-4EEE5802915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4746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“</a:t>
            </a:r>
            <a:r>
              <a:rPr lang="pt-BR" err="1"/>
              <a:t>Companies</a:t>
            </a:r>
            <a:r>
              <a:rPr lang="pt-BR"/>
              <a:t> </a:t>
            </a:r>
            <a:r>
              <a:rPr lang="pt-BR" err="1"/>
              <a:t>adopt</a:t>
            </a:r>
            <a:r>
              <a:rPr lang="pt-BR"/>
              <a:t> RFID </a:t>
            </a:r>
            <a:r>
              <a:rPr lang="pt-BR" err="1"/>
              <a:t>but</a:t>
            </a:r>
            <a:r>
              <a:rPr lang="pt-BR"/>
              <a:t> </a:t>
            </a:r>
            <a:r>
              <a:rPr lang="pt-BR" err="1"/>
              <a:t>don’t</a:t>
            </a:r>
            <a:r>
              <a:rPr lang="pt-BR"/>
              <a:t> observe its full </a:t>
            </a:r>
            <a:r>
              <a:rPr lang="pt-BR" err="1"/>
              <a:t>potential</a:t>
            </a:r>
            <a:r>
              <a:rPr lang="pt-BR"/>
              <a:t>”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73938-461C-4997-9565-4EEE5802915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1611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73938-461C-4997-9565-4EEE5802915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2634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73938-461C-4997-9565-4EEE5802915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59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31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33.jpe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5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40.jpe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15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9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A7782-27D5-0445-959E-D4F2C23195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EAFF73-BF2C-0949-8A6B-EF7F1D547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A6F6C1-93FC-5F4F-9E0C-E948FC916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42AF30-BFAD-9F46-A5F9-2EA6C1383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8DDB31-635D-544F-B3E6-2424BBE5E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3160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393496-1686-0245-9B4C-30731F20A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C5C000-AC3A-1C4B-A142-1A4268414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B3695C-B09D-0645-A5BF-136F27688F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98588C-30F3-4342-B559-E5CC2E23E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2FA2C3-E8B6-C148-81AD-D54BF031B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ECDA87-8862-6A4D-B3E8-028854AF0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975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nageV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FCCE976-8557-9A4D-84A1-62FB62A52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419D95-E91A-48FD-B384-3424A2D3A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68C2D-1E10-4518-AD9E-65DE9A9C4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A7F0F-1E82-467E-95A1-0B9C6DFF2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E99861-8243-1847-B99A-191E3BAD896A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3E727E6-9517-7D4B-8E0E-5C21C875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28FABC-25CB-AC42-8A12-7EC31EACFB6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315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gline Divider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71C774F7-80E2-D044-AB34-4266BED579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576A7BA-DDF8-A048-A53B-ECAFB88FCA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DA8B37-37E7-2F40-8B50-841FB47C228D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8E68494-929B-5840-8726-5D995F704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475015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and ManageV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person, indoor, controller&#10;&#10;Description automatically generated">
            <a:extLst>
              <a:ext uri="{FF2B5EF4-FFF2-40B4-BE49-F238E27FC236}">
                <a16:creationId xmlns:a16="http://schemas.microsoft.com/office/drawing/2014/main" id="{6B008DD7-3D2F-BB4E-A992-692F3D7DFA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4381500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520DEA-D351-3547-8707-0ED22BC32DFC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9E03372-1849-BF4A-8CD6-5C3F04442C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5911" y="289932"/>
            <a:ext cx="1849453" cy="351589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F231FD0-6BD8-7040-8931-9D3316A13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38010"/>
            <a:ext cx="1053915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776902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Divider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71C774F7-80E2-D044-AB34-4266BED579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8756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Divid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7E610552-C31B-F718-F3A1-CDEB9870DD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6EF6FD9-0036-D340-BED5-3F3CEC4474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99374" y="287020"/>
            <a:ext cx="1833560" cy="33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7408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B8393D-28D2-D94F-AE66-FE5449120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0931A9-E028-AB45-8BBF-366D5B815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4332F1-8C7F-1749-98FF-4DA348DE1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4FFF41-2B5C-6D4D-8316-033D02AA40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59"/>
          <a:stretch/>
        </p:blipFill>
        <p:spPr>
          <a:xfrm>
            <a:off x="0" y="-1"/>
            <a:ext cx="12240545" cy="6858001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E65CA23-0816-34C3-B4E6-0351115E0BC4}"/>
              </a:ext>
            </a:extLst>
          </p:cNvPr>
          <p:cNvCxnSpPr>
            <a:cxnSpLocks/>
          </p:cNvCxnSpPr>
          <p:nvPr userDrawn="1"/>
        </p:nvCxnSpPr>
        <p:spPr>
          <a:xfrm>
            <a:off x="3009133" y="3880240"/>
            <a:ext cx="617373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506528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CF660F6-02F7-174A-B86F-206871710F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C24D381-E2EC-A742-9271-86ADB5E594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1235823-D714-070D-F8D9-C2A8FF5AE838}"/>
              </a:ext>
            </a:extLst>
          </p:cNvPr>
          <p:cNvCxnSpPr>
            <a:cxnSpLocks/>
          </p:cNvCxnSpPr>
          <p:nvPr userDrawn="1"/>
        </p:nvCxnSpPr>
        <p:spPr>
          <a:xfrm>
            <a:off x="3009133" y="3880240"/>
            <a:ext cx="617373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36871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9CAC29A-83DD-5647-8E9C-C0AD17102E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44AD3ECD-20A8-6B4E-BE4B-403A33ADAFF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21" y="292047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13335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wo people looking at a piece of paper&#10;&#10;Description automatically generated with medium confidence">
            <a:extLst>
              <a:ext uri="{FF2B5EF4-FFF2-40B4-BE49-F238E27FC236}">
                <a16:creationId xmlns:a16="http://schemas.microsoft.com/office/drawing/2014/main" id="{22E2CCE3-F052-D949-A0EA-F3855C1B64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9E687BB-BFDE-2C44-8F10-4E224A8C9862}"/>
              </a:ext>
            </a:extLst>
          </p:cNvPr>
          <p:cNvSpPr/>
          <p:nvPr userDrawn="1"/>
        </p:nvSpPr>
        <p:spPr>
          <a:xfrm>
            <a:off x="-1" y="0"/>
            <a:ext cx="12192001" cy="2336800"/>
          </a:xfrm>
          <a:prstGeom prst="rect">
            <a:avLst/>
          </a:prstGeom>
          <a:gradFill>
            <a:gsLst>
              <a:gs pos="74000">
                <a:srgbClr val="000000">
                  <a:alpha val="43000"/>
                </a:srgbClr>
              </a:gs>
              <a:gs pos="18000">
                <a:schemeClr val="tx1">
                  <a:alpha val="76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794D1FA5-9696-8543-A759-EEBB9B26B7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AF2B075-B745-4A41-8A51-563DDD7505DD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6AC00B4-1DFF-E145-8855-C909E0400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38010"/>
            <a:ext cx="1053915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2175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kground Im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BA2291-E11C-8D11-69DB-F52C759930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293" y="1"/>
            <a:ext cx="4059382" cy="506061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F6DBE06-89F8-52C7-F407-8A5511BB1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7"/>
          <a:stretch/>
        </p:blipFill>
        <p:spPr>
          <a:xfrm>
            <a:off x="-15674" y="0"/>
            <a:ext cx="4059382" cy="50585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04345F-E7F3-9F12-7B3D-3A6FDFFCA0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43708" y="0"/>
            <a:ext cx="4104585" cy="5058568"/>
          </a:xfrm>
          <a:prstGeom prst="rect">
            <a:avLst/>
          </a:prstGeom>
        </p:spPr>
      </p:pic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D5AFCC-E44A-90F7-01B5-A8FE3F9EB8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61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736B0-38FE-7D49-A48E-335B2913C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CB50F5-555E-4A4C-ACB7-32FB94D335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97223A-A58A-2749-8554-73756770B1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E997AA-DD30-4F4D-8992-50221A5BE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6518C9-217C-3247-8C70-B76FEFEED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DEE5DF-E774-4B40-883A-457658469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4312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ground Im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BA2291-E11C-8D11-69DB-F52C75993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88"/>
          <a:stretch/>
        </p:blipFill>
        <p:spPr>
          <a:xfrm>
            <a:off x="8148293" y="0"/>
            <a:ext cx="4059382" cy="506109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F6DBE06-89F8-52C7-F407-8A5511BB16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7"/>
          <a:stretch/>
        </p:blipFill>
        <p:spPr>
          <a:xfrm>
            <a:off x="-15674" y="0"/>
            <a:ext cx="4059382" cy="505857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04345F-E7F3-9F12-7B3D-3A6FDFFCA0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43707" y="-2522"/>
            <a:ext cx="4104585" cy="5058576"/>
          </a:xfrm>
          <a:prstGeom prst="rect">
            <a:avLst/>
          </a:prstGeom>
        </p:spPr>
      </p:pic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97D5AFCC-E44A-90F7-01B5-A8FE3F9EB8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7197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BB3ED1-A9F4-1FAF-2AC1-488EB21207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21" y="292047"/>
            <a:ext cx="1849453" cy="35158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AC7D7C9-A865-9B83-DCC3-F1ADAC73DE83}"/>
              </a:ext>
            </a:extLst>
          </p:cNvPr>
          <p:cNvSpPr/>
          <p:nvPr userDrawn="1"/>
        </p:nvSpPr>
        <p:spPr>
          <a:xfrm>
            <a:off x="-1" y="0"/>
            <a:ext cx="8154785" cy="6857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6B1A744-7D35-2772-3CD3-C5A3A30FD25E}"/>
              </a:ext>
            </a:extLst>
          </p:cNvPr>
          <p:cNvGrpSpPr/>
          <p:nvPr userDrawn="1"/>
        </p:nvGrpSpPr>
        <p:grpSpPr>
          <a:xfrm>
            <a:off x="576751" y="1913018"/>
            <a:ext cx="6863620" cy="4952195"/>
            <a:chOff x="82456" y="2026596"/>
            <a:chExt cx="6044156" cy="436094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6B467F1-D5CE-8B20-0491-AA0D85091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392504" y="2349541"/>
              <a:ext cx="5434718" cy="4037996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F243D92-73DF-1A84-D983-CAE22EC660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grayscl/>
            </a:blip>
            <a:stretch>
              <a:fillRect/>
            </a:stretch>
          </p:blipFill>
          <p:spPr>
            <a:xfrm>
              <a:off x="82456" y="2026596"/>
              <a:ext cx="6044156" cy="42133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695284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07DB1F4-C1A7-A3ED-3D47-1EAF2A6673F6}"/>
              </a:ext>
            </a:extLst>
          </p:cNvPr>
          <p:cNvSpPr/>
          <p:nvPr userDrawn="1"/>
        </p:nvSpPr>
        <p:spPr>
          <a:xfrm>
            <a:off x="-1" y="0"/>
            <a:ext cx="8154785" cy="6857999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93AAF0-2D90-F184-81E0-F8F15A2E7725}"/>
              </a:ext>
            </a:extLst>
          </p:cNvPr>
          <p:cNvGrpSpPr/>
          <p:nvPr userDrawn="1"/>
        </p:nvGrpSpPr>
        <p:grpSpPr>
          <a:xfrm>
            <a:off x="581438" y="1914255"/>
            <a:ext cx="6869883" cy="4783401"/>
            <a:chOff x="453695" y="2545421"/>
            <a:chExt cx="5298631" cy="3689361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77B2B9AE-2922-A7AF-9ED8-6EE39576DE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grayscl/>
            </a:blip>
            <a:stretch>
              <a:fillRect/>
            </a:stretch>
          </p:blipFill>
          <p:spPr>
            <a:xfrm>
              <a:off x="453695" y="2545421"/>
              <a:ext cx="5298631" cy="368936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C45F296D-8614-DEA0-5912-2895ADDA5E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683" y="2831368"/>
              <a:ext cx="4561704" cy="33893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357237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585EAD-CF34-4841-B965-4A7E2F39DE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62090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09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and Tex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477AEE3-EBC9-F588-7CC1-CFAFFAE6C7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59382" cy="50461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68E22A9-7FED-64EA-E8EC-EFF43475D4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17"/>
          <a:stretch/>
        </p:blipFill>
        <p:spPr>
          <a:xfrm>
            <a:off x="8103089" y="0"/>
            <a:ext cx="4088911" cy="50442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131C54-C4E4-94FA-A142-A2B5FBC368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43708" y="0"/>
            <a:ext cx="4104585" cy="5043975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AFE4CDE-9941-9459-94E9-DDF2865E7E9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182BA24-C509-C94F-971D-5E748447ADBD}"/>
              </a:ext>
            </a:extLst>
          </p:cNvPr>
          <p:cNvSpPr/>
          <p:nvPr userDrawn="1"/>
        </p:nvSpPr>
        <p:spPr>
          <a:xfrm>
            <a:off x="0" y="0"/>
            <a:ext cx="8147304" cy="5042916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070531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87BCEE-85B7-914E-A404-7D71F60A8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36510-055A-8049-9527-A48464D79E44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892D8-3D59-B543-8639-8FF865BF3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5BF76F-1F76-2046-8F12-C86DAFA88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94BD7E-36D9-1743-B9BE-F54728AF42F2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FC5932B-4CB2-C84A-BBF3-59CCBDDEB64F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1144F2F-D319-9445-BA66-3C05119AE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38010"/>
            <a:ext cx="1053915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tx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952113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text, indoor, person, floor&#10;&#10;Description automatically generated">
            <a:extLst>
              <a:ext uri="{FF2B5EF4-FFF2-40B4-BE49-F238E27FC236}">
                <a16:creationId xmlns:a16="http://schemas.microsoft.com/office/drawing/2014/main" id="{6BA1D266-D34D-B8C9-5033-A7D288C480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293" y="0"/>
            <a:ext cx="4059382" cy="5061098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8D7E126-141B-0878-5136-90FA7F5134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C06072C-92E2-7B40-420C-45A38FD81D05}"/>
              </a:ext>
            </a:extLst>
          </p:cNvPr>
          <p:cNvCxnSpPr>
            <a:cxnSpLocks/>
          </p:cNvCxnSpPr>
          <p:nvPr userDrawn="1"/>
        </p:nvCxnSpPr>
        <p:spPr>
          <a:xfrm>
            <a:off x="389255" y="1819908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C09536F-07F0-1EC7-0FA9-0E6739593D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59382" cy="5058576"/>
          </a:xfrm>
          <a:prstGeom prst="rect">
            <a:avLst/>
          </a:prstGeom>
        </p:spPr>
      </p:pic>
      <p:pic>
        <p:nvPicPr>
          <p:cNvPr id="5" name="Picture 4" descr="A picture containing text, indoor, shelf, warehouse&#10;&#10;Description automatically generated">
            <a:extLst>
              <a:ext uri="{FF2B5EF4-FFF2-40B4-BE49-F238E27FC236}">
                <a16:creationId xmlns:a16="http://schemas.microsoft.com/office/drawing/2014/main" id="{A7D07CEA-300C-3E64-613C-BB6249375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383" y="0"/>
            <a:ext cx="4088910" cy="50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59544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09256F3-CC8B-36AA-FF50-DA96703ED5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33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9256F3-CC8B-36AA-FF50-DA96703ED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0BB901-96FD-4E4E-BD16-BC80E8296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95923"/>
            <a:ext cx="10581230" cy="498598"/>
          </a:xfrm>
        </p:spPr>
        <p:txBody>
          <a:bodyPr vert="horz" wrap="square" lIns="0" tIns="0" rIns="0" bIns="0">
            <a:spAutoFit/>
          </a:bodyPr>
          <a:lstStyle>
            <a:lvl1pPr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995437F-3495-E846-52B6-DBC05BADC0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173F5-6432-465E-A768-2F9DE2D8ED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101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A7782-27D5-0445-959E-D4F2C23195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EAFF73-BF2C-0949-8A6B-EF7F1D547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A6F6C1-93FC-5F4F-9E0C-E948FC916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42AF30-BFAD-9F46-A5F9-2EA6C1383B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8DDB31-635D-544F-B3E6-2424BBE5E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4383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A738F-7011-AD4A-8E08-F75A0220E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DAFD83-CB97-944B-B7C5-BD5F245992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B45BE1-1F7D-894B-89E9-1C525D2C9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FC5549-063C-164D-BE05-33ADF9069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0F913E-EEED-6B47-A79F-89F53858C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5863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2826B-97C6-3045-B582-24CC7CD7B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4A65B2-9B39-1A4F-A020-4D8B720CE9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BBF777-33E8-D447-A9A6-62E41AB3E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5B59BF-E878-BD4F-9A17-E452291D4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7BE075-12BE-7A42-9453-F371C8E36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80062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4899E-2B07-F542-8AB9-BC0E20707E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7D307-F8E2-6247-93DD-79678ADC68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F176E-F93D-154E-9123-2C6CE4C3D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26AA9-DA7C-CD46-A985-2033E705A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DCFA5-D722-4742-8451-BDF09C1B1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1832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48E11-D685-F944-B676-A48099EDA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7E4F12-186B-C44C-A30A-7902620BF5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2C7698-8318-9B4B-9B82-08A45AF397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F060A1-2233-D244-ACAB-4770E7097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C056E8-DA51-AD44-B6FB-CF857A003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FA5AFE-6851-C745-BF7F-967BE9017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8794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7AD9A-EF91-9249-B331-916F0A214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352215-B7E5-D14F-BCDB-ABCF0559E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5E9E92-EF89-CA41-BF00-E87C3975A4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01C4B2-D57D-9042-AC4A-3A8D90BA45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23C617-7E71-5C43-9F93-6629298BAB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BEFE5A-CC09-284B-91C9-30ED51B9AF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7D7F7F-EC07-5E4C-B144-980F6DBBE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77A03F-433F-7047-9BC0-80E7DD501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401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BB901-96FD-4E4E-BD16-BC80E8296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8067F4-F189-D042-9D0F-080A048B0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16CD3D-9A3C-9D42-9E70-EC2C53C17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492C0C-98CE-CC4D-9ECA-672EC5311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07111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6989E7-C009-E84C-912A-C20DDD310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96D8F-9E69-0D4E-A3A5-AD73AA764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4A7EA8-D90F-7244-B1D2-CE98693C0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16997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393496-1686-0245-9B4C-30731F20A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C5C000-AC3A-1C4B-A142-1A4268414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B3695C-B09D-0645-A5BF-136F27688F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98588C-30F3-4342-B559-E5CC2E23E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2FA2C3-E8B6-C148-81AD-D54BF031B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ECDA87-8862-6A4D-B3E8-028854AF0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91808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736B0-38FE-7D49-A48E-335B2913C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CB50F5-555E-4A4C-ACB7-32FB94D335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97223A-A58A-2749-8554-73756770B1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E997AA-DD30-4F4D-8992-50221A5BE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6518C9-217C-3247-8C70-B76FEFEED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DEE5DF-E774-4B40-883A-457658469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9607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2826B-97C6-3045-B582-24CC7CD7B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4A65B2-9B39-1A4F-A020-4D8B720CE9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BBF777-33E8-D447-A9A6-62E41AB3E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5B59BF-E878-BD4F-9A17-E452291D4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7BE075-12BE-7A42-9453-F371C8E36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46442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ADECD9D-E5F8-A84E-92F3-D8209B85B19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E6D54C-81CE-FE49-9888-D5C2862F78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4ABCDE-7896-BA46-A22A-4F79F370B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906470-0FC6-1343-BCDE-94AFAAE0B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24056-4FBC-6745-AD4F-9FF7260CE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77652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C8657-A5A2-C73D-9F87-B9BD6B14A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163420"/>
            <a:ext cx="3527425" cy="670011"/>
          </a:xfrm>
        </p:spPr>
        <p:txBody>
          <a:bodyPr tIns="0" bIns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01AA8097-8F8F-6DC2-33B5-FA8366F3C4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BF5581B9-421C-B982-2612-791D0A035B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3893821"/>
            <a:ext cx="3527425" cy="1021080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6B7DC6-D951-BDCC-5007-33E1324A39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1857374"/>
            <a:ext cx="4260850" cy="3139477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B15C15FE-C696-F1E1-50AF-2DA2E37B72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554416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ADECD9D-E5F8-A84E-92F3-D8209B85B19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E6D54C-81CE-FE49-9888-D5C2862F78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4ABCDE-7896-BA46-A22A-4F79F370B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906470-0FC6-1343-BCDE-94AFAAE0B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724056-4FBC-6745-AD4F-9FF7260CE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07192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656A6DF-A10D-326D-E6BD-06EE8366E1F3}"/>
              </a:ext>
            </a:extLst>
          </p:cNvPr>
          <p:cNvSpPr/>
          <p:nvPr userDrawn="1"/>
        </p:nvSpPr>
        <p:spPr>
          <a:xfrm>
            <a:off x="5605313" y="0"/>
            <a:ext cx="6586687" cy="6858000"/>
          </a:xfrm>
          <a:custGeom>
            <a:avLst/>
            <a:gdLst>
              <a:gd name="connsiteX0" fmla="*/ 3344303 w 6586687"/>
              <a:gd name="connsiteY0" fmla="*/ 0 h 6858000"/>
              <a:gd name="connsiteX1" fmla="*/ 6586687 w 6586687"/>
              <a:gd name="connsiteY1" fmla="*/ 0 h 6858000"/>
              <a:gd name="connsiteX2" fmla="*/ 6586687 w 6586687"/>
              <a:gd name="connsiteY2" fmla="*/ 2702758 h 6858000"/>
              <a:gd name="connsiteX3" fmla="*/ 4560384 w 6586687"/>
              <a:gd name="connsiteY3" fmla="*/ 6858000 h 6858000"/>
              <a:gd name="connsiteX4" fmla="*/ 0 w 658668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6687" h="6858000">
                <a:moveTo>
                  <a:pt x="3344303" y="0"/>
                </a:moveTo>
                <a:lnTo>
                  <a:pt x="6586687" y="0"/>
                </a:lnTo>
                <a:lnTo>
                  <a:pt x="6586687" y="2702758"/>
                </a:lnTo>
                <a:lnTo>
                  <a:pt x="456038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784DFF"/>
              </a:gs>
              <a:gs pos="89000">
                <a:srgbClr val="1898FF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DA5531-B54A-BADD-9A63-1E0BC53B5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335847"/>
            <a:ext cx="6253843" cy="170636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6600" spc="147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8369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79ED28F-99A1-3FC6-9155-CFDD06E356B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222328"/>
            <a:ext cx="6253843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1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35E40065-98C5-A52A-DBEB-15BE48B0EF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5300" y="369888"/>
            <a:ext cx="2062843" cy="500969"/>
          </a:xfrm>
          <a:noFill/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19903941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5D3F8-9468-03E1-2E2F-F4CF7E1C5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088550"/>
            <a:ext cx="3911600" cy="6700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A034C8C-29C2-7439-190F-5D812BEEE20F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856921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E7A6C4A8-630D-B996-5506-D517299761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6500" y="2089150"/>
            <a:ext cx="4335463" cy="3587750"/>
          </a:xfrm>
        </p:spPr>
        <p:txBody>
          <a:bodyPr vert="horz" lIns="0" tIns="45720" rIns="0" bIns="45720" rtlCol="0">
            <a:noAutofit/>
          </a:bodyPr>
          <a:lstStyle>
            <a:lvl1pPr algn="r">
              <a:defRPr lang="en-US" sz="2400" smtClean="0">
                <a:solidFill>
                  <a:schemeClr val="accent1"/>
                </a:solidFill>
                <a:latin typeface="+mj-lt"/>
              </a:defRPr>
            </a:lvl1pPr>
            <a:lvl2pPr>
              <a:defRPr lang="en-US" smtClean="0">
                <a:solidFill>
                  <a:schemeClr val="accent1"/>
                </a:solidFill>
                <a:latin typeface="+mj-lt"/>
              </a:defRPr>
            </a:lvl2pPr>
            <a:lvl3pPr>
              <a:defRPr lang="en-US" smtClean="0">
                <a:solidFill>
                  <a:schemeClr val="accent1"/>
                </a:solidFill>
                <a:latin typeface="+mj-lt"/>
              </a:defRPr>
            </a:lvl3pPr>
            <a:lvl4pPr>
              <a:defRPr lang="en-US" smtClean="0">
                <a:solidFill>
                  <a:schemeClr val="accent1"/>
                </a:solidFill>
                <a:latin typeface="+mj-lt"/>
              </a:defRPr>
            </a:lvl4pPr>
            <a:lvl5pPr>
              <a:defRPr lang="en-US">
                <a:solidFill>
                  <a:schemeClr val="accent1"/>
                </a:solidFill>
                <a:latin typeface="+mj-lt"/>
              </a:defRPr>
            </a:lvl5pPr>
          </a:lstStyle>
          <a:p>
            <a:pPr lvl="0" algn="r"/>
            <a:r>
              <a:rPr lang="en-US"/>
              <a:t>Click to edit Master text styles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9831A60A-B5D8-CE66-A8A2-DF64B49B18E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0515803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3CDC6-B32E-BDD9-D4D7-D554899FE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885291"/>
            <a:ext cx="9029700" cy="4745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09DF7E4-EDF9-84AC-7805-78E47794DAC2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531836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E5FB1FC2-221F-CBDF-D3F3-1D8BB33B9B2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714682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Text + Black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0D8516-ED4F-A865-8AA1-669A14553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90370"/>
            <a:ext cx="9245600" cy="2810641"/>
          </a:xfrm>
        </p:spPr>
        <p:txBody>
          <a:bodyPr>
            <a:spAutoFit/>
          </a:bodyPr>
          <a:lstStyle>
            <a:lvl1pPr>
              <a:lnSpc>
                <a:spcPct val="91786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348462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text + gradient bg">
    <p:bg>
      <p:bgPr>
        <a:gradFill flip="none" rotWithShape="1">
          <a:gsLst>
            <a:gs pos="30000">
              <a:schemeClr val="accent2"/>
            </a:gs>
            <a:gs pos="80000">
              <a:srgbClr val="1F69FF"/>
            </a:gs>
          </a:gsLst>
          <a:lin ang="66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DA11C-E823-E358-DE41-74951E13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2780" y="2549347"/>
            <a:ext cx="7466440" cy="670011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157B43FB-6754-1EDB-89DA-67F2C2688C6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noFill/>
        </p:spPr>
        <p:txBody>
          <a:bodyPr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93682052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3D2FB-E502-BAED-12A5-5C04B762B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548" y="1986300"/>
            <a:ext cx="4342167" cy="6700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4AB218F-54A5-7ADC-137C-5A63F99F0D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3910013"/>
            <a:ext cx="4342167" cy="1852611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B44540A-F3A1-1E1C-3931-1E32BF583B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104899"/>
            <a:ext cx="5872163" cy="46577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01B930ED-D57E-3FB8-C7D1-C7914AA27C7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82509228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left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B44540A-F3A1-1E1C-3931-1E32BF583B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872163" cy="685799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73D2FB-E502-BAED-12A5-5C04B762B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548" y="1419226"/>
            <a:ext cx="4342167" cy="6700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4AB218F-54A5-7ADC-137C-5A63F99F0D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3510111"/>
            <a:ext cx="4342167" cy="2576364"/>
          </a:xfrm>
        </p:spPr>
        <p:txBody>
          <a:bodyPr tIns="0" bIns="0"/>
          <a:lstStyle>
            <a:lvl1pPr marL="182880" indent="-182880">
              <a:buSzPct val="100000"/>
              <a:buFont typeface="Wingdings 2" panose="05020102010507070707" pitchFamily="18" charset="2"/>
              <a:buChar char=""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278D663-51B9-E940-59AB-1C31426C17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9548" y="2754959"/>
            <a:ext cx="4342167" cy="445294"/>
          </a:xfrm>
        </p:spPr>
        <p:txBody>
          <a:bodyPr tIns="0" bIns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2218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849585"/>
            <a:ext cx="7447170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E6F8E2-1129-57EC-226F-FC7BFB9655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7500" y="4053526"/>
            <a:ext cx="9034272" cy="1909124"/>
          </a:xfrm>
        </p:spPr>
        <p:txBody>
          <a:bodyPr numCol="2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5BEB81D6-AF2E-84BC-BE4B-E78EF5C34A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4526182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E6F8E2-1129-57EC-226F-FC7BFB9655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7500" y="1580321"/>
            <a:ext cx="9474752" cy="4512365"/>
          </a:xfrm>
        </p:spPr>
        <p:txBody>
          <a:bodyPr numCol="2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33C8F-A737-5202-3DB7-22061E099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572919"/>
            <a:ext cx="7437230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Placeholder 13" descr="A purple letters on a black background&#10;&#10;Description automatically generated">
            <a:extLst>
              <a:ext uri="{FF2B5EF4-FFF2-40B4-BE49-F238E27FC236}">
                <a16:creationId xmlns:a16="http://schemas.microsoft.com/office/drawing/2014/main" id="{A1476515-9602-4D4C-D13B-B68CAB60EC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195" b="-7195"/>
          <a:stretch/>
        </p:blipFill>
        <p:spPr>
          <a:xfrm>
            <a:off x="339725" y="265113"/>
            <a:ext cx="960438" cy="255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6747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E6F8E2-1129-57EC-226F-FC7BFB9655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7499" y="2047461"/>
            <a:ext cx="9694789" cy="4045225"/>
          </a:xfrm>
        </p:spPr>
        <p:txBody>
          <a:bodyPr numCol="1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5BEB81D6-AF2E-84BC-BE4B-E78EF5C34A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717E120-9D00-CF71-5183-D29B1F0CA6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498" y="1421839"/>
            <a:ext cx="3948597" cy="445294"/>
          </a:xfrm>
        </p:spPr>
        <p:txBody>
          <a:bodyPr tIns="0" bIns="0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1DE718-CB02-8AD4-D763-227D354CF6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572919"/>
            <a:ext cx="7437230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26097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ackground Im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B86817-5BE4-4C4B-A203-FAF4673C8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EC34A5-72CF-864B-91C7-85776EF7C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929E7-FBE6-F144-AF8F-385B1657B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CD54613-F079-7D43-A2C6-6EC338D4B9CF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54D4BEC-50A5-2740-8866-5711479ED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433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DFCD7BE0-E53D-A24D-A7FA-CD98E47369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57755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5BEB81D6-AF2E-84BC-BE4B-E78EF5C34A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1717E120-9D00-CF71-5183-D29B1F0CA6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0" y="1421839"/>
            <a:ext cx="4261757" cy="445294"/>
          </a:xfrm>
        </p:spPr>
        <p:txBody>
          <a:bodyPr tIns="0" bIns="0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49A67F-2495-32DB-F8F5-539B0D3B0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572919"/>
            <a:ext cx="7437230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801024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heading + 2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04291"/>
            <a:ext cx="9017002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9EB3387-E687-6816-E8E2-00C64BFD7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0" y="2514426"/>
            <a:ext cx="4261757" cy="445294"/>
          </a:xfrm>
        </p:spPr>
        <p:txBody>
          <a:bodyPr tIns="0" bIns="0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B4B5BE6-63D5-FA77-C80A-E7371828F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2745" y="2514426"/>
            <a:ext cx="4261757" cy="445294"/>
          </a:xfrm>
        </p:spPr>
        <p:txBody>
          <a:bodyPr vert="horz" lIns="0" tIns="0" rIns="0" bIns="0" rtlCol="0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F1EB097-4E31-44B0-0FDD-E2C0BC05E7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3260725"/>
            <a:ext cx="4260850" cy="2701925"/>
          </a:xfrm>
        </p:spPr>
        <p:txBody>
          <a:bodyPr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01A9B55-0EE5-5657-C893-515B9CE686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2" y="3260725"/>
            <a:ext cx="4260850" cy="2701925"/>
          </a:xfrm>
        </p:spPr>
        <p:txBody>
          <a:bodyPr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A72D61A6-B118-194E-C05A-105439C56F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0707511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heading + 2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499" y="390037"/>
            <a:ext cx="7755283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9EB3387-E687-6816-E8E2-00C64BFD7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8407" y="1492445"/>
            <a:ext cx="4261757" cy="445294"/>
          </a:xfrm>
        </p:spPr>
        <p:txBody>
          <a:bodyPr tIns="0" bIns="0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B4B5BE6-63D5-FA77-C80A-E7371828F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3652" y="1492445"/>
            <a:ext cx="4261757" cy="445294"/>
          </a:xfrm>
        </p:spPr>
        <p:txBody>
          <a:bodyPr vert="horz" lIns="0" tIns="0" rIns="0" bIns="0" rtlCol="0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F1EB097-4E31-44B0-0FDD-E2C0BC05E7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2156791"/>
            <a:ext cx="4260850" cy="3805859"/>
          </a:xfrm>
        </p:spPr>
        <p:txBody>
          <a:bodyPr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01A9B55-0EE5-5657-C893-515B9CE686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2" y="2156791"/>
            <a:ext cx="4260850" cy="3805859"/>
          </a:xfrm>
        </p:spPr>
        <p:txBody>
          <a:bodyPr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A72D61A6-B118-194E-C05A-105439C56F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5635268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53A64-DBFA-987D-5026-3B047B2C5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44270"/>
            <a:ext cx="3913632" cy="670011"/>
          </a:xfrm>
        </p:spPr>
        <p:txBody>
          <a:bodyPr/>
          <a:lstStyle>
            <a:lvl1pPr>
              <a:defRPr sz="2000">
                <a:gradFill>
                  <a:gsLst>
                    <a:gs pos="0">
                      <a:schemeClr val="accent2"/>
                    </a:gs>
                    <a:gs pos="52000">
                      <a:srgbClr val="7776EB"/>
                    </a:gs>
                    <a:gs pos="80000">
                      <a:schemeClr val="accent3"/>
                    </a:gs>
                  </a:gsLst>
                  <a:lin ang="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0B86064-9187-50C6-9AB9-3C1BAD46E516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183821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1049D83-C235-C8E7-FF00-75E2B178E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344271"/>
            <a:ext cx="4342167" cy="441835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5A00A08A-B4D3-16F1-29E0-FE93197E68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5183168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row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46C96A2-90CD-FF3A-8F72-19867133FE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555786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971177D-90AE-F14D-772B-209770D790BF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400637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360A2CC-CA3E-8D58-8007-014417D411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87501" y="1555786"/>
            <a:ext cx="3220170" cy="673986"/>
          </a:xfrm>
          <a:noFill/>
        </p:spPr>
        <p:txBody>
          <a:bodyPr wrap="square" lIns="0" rIns="0" rtlCol="0">
            <a:noAutofit/>
          </a:bodyPr>
          <a:lstStyle>
            <a:lvl1pPr>
              <a:defRPr lang="en-US" sz="1800" b="0" dirty="0" smtClean="0">
                <a:solidFill>
                  <a:schemeClr val="accent3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7E060BA-82B3-A3C1-0EA8-D38B1BB9F2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548" y="3153106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26850F-7FCE-D834-9B67-D6B572A0EAAF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997957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0D8BAAB-DD5B-C185-AE78-62C1F7B02A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7501" y="3153106"/>
            <a:ext cx="3220170" cy="673986"/>
          </a:xfrm>
          <a:noFill/>
        </p:spPr>
        <p:txBody>
          <a:bodyPr wrap="square" lIns="0" rIns="0" rtlCol="0">
            <a:noAutofit/>
          </a:bodyPr>
          <a:lstStyle>
            <a:lvl1pPr>
              <a:defRPr lang="en-US" sz="1800" b="0" dirty="0" smtClean="0">
                <a:solidFill>
                  <a:schemeClr val="accent3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8CCC4EE-044F-B430-533A-AE5E88334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9548" y="4955437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BEA3543-C4EF-27C3-240C-5FC234C1289D}"/>
              </a:ext>
            </a:extLst>
          </p:cNvPr>
          <p:cNvCxnSpPr>
            <a:cxnSpLocks/>
          </p:cNvCxnSpPr>
          <p:nvPr userDrawn="1"/>
        </p:nvCxnSpPr>
        <p:spPr>
          <a:xfrm>
            <a:off x="1587500" y="4800288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29AF47F2-D854-9D4C-D196-356666AFB1F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87501" y="4955437"/>
            <a:ext cx="3220170" cy="673986"/>
          </a:xfrm>
          <a:noFill/>
        </p:spPr>
        <p:txBody>
          <a:bodyPr wrap="square" lIns="0" rIns="0" rtlCol="0">
            <a:noAutofit/>
          </a:bodyPr>
          <a:lstStyle>
            <a:lvl1pPr>
              <a:defRPr lang="en-US" sz="1800" b="0" dirty="0" smtClean="0">
                <a:solidFill>
                  <a:schemeClr val="accent3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Picture Placeholder 23">
            <a:extLst>
              <a:ext uri="{FF2B5EF4-FFF2-40B4-BE49-F238E27FC236}">
                <a16:creationId xmlns:a16="http://schemas.microsoft.com/office/drawing/2014/main" id="{879C28E4-653E-8C5A-7D19-0DEF3C30A8A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61752843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heading + 3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04291"/>
            <a:ext cx="9017002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9EB3387-E687-6816-E8E2-00C64BFD7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3077028"/>
            <a:ext cx="2766780" cy="351971"/>
          </a:xfrm>
        </p:spPr>
        <p:txBody>
          <a:bodyPr tIns="0" bIns="0" anchor="ctr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B4B5BE6-63D5-FA77-C80A-E7371828F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2613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F1EB097-4E31-44B0-0FDD-E2C0BC05E7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3628571"/>
            <a:ext cx="2766780" cy="2334079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01A9B55-0EE5-5657-C893-515B9CE686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612" y="3628571"/>
            <a:ext cx="2766780" cy="2334079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D3B58A3E-1494-2278-4E4E-B7BF6B01C4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37722" y="3628571"/>
            <a:ext cx="2766780" cy="2334079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8BD2E84D-2BFC-54D8-7B31-9C4DFA467E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37722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A191B8FB-2D70-DBCF-C467-2A6B447339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5873569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heading + 3 column bulle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04291"/>
            <a:ext cx="9017002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9EB3387-E687-6816-E8E2-00C64BFD7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3077028"/>
            <a:ext cx="2766780" cy="351971"/>
          </a:xfrm>
        </p:spPr>
        <p:txBody>
          <a:bodyPr tIns="0" bIns="0" anchor="ctr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B4B5BE6-63D5-FA77-C80A-E7371828F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2613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8BD2E84D-2BFC-54D8-7B31-9C4DFA467E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37722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799365-D32E-7660-658E-6B2E84F4E28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87500" y="3629025"/>
            <a:ext cx="2767013" cy="2333625"/>
          </a:xfrm>
        </p:spPr>
        <p:txBody>
          <a:bodyPr tIns="0"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3296131-1155-1891-C3C1-325B8504636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12380" y="3629025"/>
            <a:ext cx="2767013" cy="2333625"/>
          </a:xfrm>
        </p:spPr>
        <p:txBody>
          <a:bodyPr tIns="0"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0681D55-5AD8-66B6-A8C3-B9D50851EB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37489" y="3629025"/>
            <a:ext cx="2767013" cy="2333625"/>
          </a:xfrm>
        </p:spPr>
        <p:txBody>
          <a:bodyPr tIns="0"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21DB3407-37C5-9B92-6324-81A61BEB57A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6811655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C8657-A5A2-C73D-9F87-B9BD6B14A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163420"/>
            <a:ext cx="3527425" cy="670011"/>
          </a:xfrm>
        </p:spPr>
        <p:txBody>
          <a:bodyPr tIns="0" bIns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BF5581B9-421C-B982-2612-791D0A035B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3893821"/>
            <a:ext cx="3527425" cy="1021080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6B7DC6-D951-BDCC-5007-33E1324A39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1857374"/>
            <a:ext cx="4260850" cy="3139477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B15C15FE-C696-F1E1-50AF-2DA2E37B72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56013841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C8657-A5A2-C73D-9F87-B9BD6B14A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163420"/>
            <a:ext cx="3527425" cy="670011"/>
          </a:xfrm>
        </p:spPr>
        <p:txBody>
          <a:bodyPr tIns="0" bIns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BF5581B9-421C-B982-2612-791D0A035B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3893821"/>
            <a:ext cx="3527425" cy="1021080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6B7DC6-D951-BDCC-5007-33E1324A39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1857374"/>
            <a:ext cx="4260850" cy="3139477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3D4B3B01-B76A-B6C4-BFBB-08BCFB35F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8205244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810C-9F6E-8437-E34D-3BFAEA982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A41E162-D64F-8C50-4BBA-D00DD8BB59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E301865-A53E-8848-1D47-B34054FA31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29AD4F73-51EE-6C1D-8D41-F135D2FC817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82644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ackground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419D95-E91A-48FD-B384-3424A2D3A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68C2D-1E10-4518-AD9E-65DE9A9C4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A7F0F-1E82-467E-95A1-0B9C6DFF2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E99861-8243-1847-B99A-191E3BAD896A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3E727E6-9517-7D4B-8E0E-5C21C875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433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28FABC-25CB-AC42-8A12-7EC31EACFB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2566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ox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810C-9F6E-8437-E34D-3BFAEA982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A41E162-D64F-8C50-4BBA-D00DD8BB59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rgbClr val="784DFF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E301865-A53E-8848-1D47-B34054FA31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rgbClr val="784DFF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8343B28B-CB85-E79D-9BA1-F31CD68B68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83152153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523BEEF-6D96-D7A6-4331-FA6EC934FF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498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F4864A5-E0B5-68CC-D4FD-73CD382A5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121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23">
            <a:extLst>
              <a:ext uri="{FF2B5EF4-FFF2-40B4-BE49-F238E27FC236}">
                <a16:creationId xmlns:a16="http://schemas.microsoft.com/office/drawing/2014/main" id="{90EFBD05-D439-D44B-DCF8-D36BE48ADF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4841908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ox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523BEEF-6D96-D7A6-4331-FA6EC934FF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498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F4864A5-E0B5-68CC-D4FD-73CD382A5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121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9FD9837A-8A91-BD49-BB25-5B4F0F472E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507078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974043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F18F1A7-4BBA-92FE-9AA5-1816DADBB17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116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FD2A08-27BC-0351-6BE2-94A279A411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57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971489B-1FBD-5889-CF6C-7196A200111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598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E71F1D77-2161-7C61-C2C6-AD97A3740A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95336946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ox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974043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F18F1A7-4BBA-92FE-9AA5-1816DADBB17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116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FD2A08-27BC-0351-6BE2-94A279A411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57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971489B-1FBD-5889-CF6C-7196A200111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598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30298B19-AB3F-CD80-1C2B-A4B2D8118BB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7743806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810C-9F6E-8437-E34D-3BFAEA982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A41E162-D64F-8C50-4BBA-D00DD8BB59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2388284"/>
            <a:ext cx="4260850" cy="2955241"/>
          </a:xfrm>
          <a:prstGeom prst="roundRect">
            <a:avLst>
              <a:gd name="adj" fmla="val 5520"/>
            </a:avLst>
          </a:prstGeom>
          <a:solidFill>
            <a:schemeClr val="bg1"/>
          </a:solidFill>
          <a:ln w="25400">
            <a:gradFill flip="none" rotWithShape="1">
              <a:gsLst>
                <a:gs pos="100000">
                  <a:schemeClr val="accent3"/>
                </a:gs>
                <a:gs pos="0">
                  <a:schemeClr val="accent2"/>
                </a:gs>
              </a:gsLst>
              <a:lin ang="0" scaled="0"/>
              <a:tileRect/>
            </a:gradFill>
          </a:ln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E301865-A53E-8848-1D47-B34054FA31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30000">
                <a:schemeClr val="accent2"/>
              </a:gs>
              <a:gs pos="80000">
                <a:srgbClr val="1F69FF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9" name="Graphic 4" descr="Chevron arrows outline">
            <a:extLst>
              <a:ext uri="{FF2B5EF4-FFF2-40B4-BE49-F238E27FC236}">
                <a16:creationId xmlns:a16="http://schemas.microsoft.com/office/drawing/2014/main" id="{8F27D3BB-34F4-C4FA-2EBB-4EECB9B0E211}"/>
              </a:ext>
            </a:extLst>
          </p:cNvPr>
          <p:cNvGrpSpPr/>
          <p:nvPr/>
        </p:nvGrpSpPr>
        <p:grpSpPr>
          <a:xfrm>
            <a:off x="6005104" y="3714750"/>
            <a:ext cx="194492" cy="302308"/>
            <a:chOff x="5993130" y="3156584"/>
            <a:chExt cx="350520" cy="544829"/>
          </a:xfrm>
          <a:solidFill>
            <a:schemeClr val="bg1">
              <a:lumMod val="65000"/>
            </a:schemeClr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5EB35A9-3EBA-0EC3-E700-6E78B3CB76F7}"/>
                </a:ext>
              </a:extLst>
            </p:cNvPr>
            <p:cNvSpPr/>
            <p:nvPr/>
          </p:nvSpPr>
          <p:spPr>
            <a:xfrm>
              <a:off x="5993130" y="3156584"/>
              <a:ext cx="219551" cy="544829"/>
            </a:xfrm>
            <a:custGeom>
              <a:avLst/>
              <a:gdLst>
                <a:gd name="connsiteX0" fmla="*/ 0 w 219551"/>
                <a:gd name="connsiteY0" fmla="*/ 11430 h 544829"/>
                <a:gd name="connsiteX1" fmla="*/ 195739 w 219551"/>
                <a:gd name="connsiteY1" fmla="*/ 272415 h 544829"/>
                <a:gd name="connsiteX2" fmla="*/ 0 w 219551"/>
                <a:gd name="connsiteY2" fmla="*/ 533400 h 544829"/>
                <a:gd name="connsiteX3" fmla="*/ 15240 w 219551"/>
                <a:gd name="connsiteY3" fmla="*/ 544830 h 544829"/>
                <a:gd name="connsiteX4" fmla="*/ 219551 w 219551"/>
                <a:gd name="connsiteY4" fmla="*/ 272415 h 544829"/>
                <a:gd name="connsiteX5" fmla="*/ 15240 w 219551"/>
                <a:gd name="connsiteY5" fmla="*/ 0 h 544829"/>
                <a:gd name="connsiteX6" fmla="*/ 0 w 219551"/>
                <a:gd name="connsiteY6" fmla="*/ 11430 h 54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51" h="544829">
                  <a:moveTo>
                    <a:pt x="0" y="11430"/>
                  </a:moveTo>
                  <a:lnTo>
                    <a:pt x="195739" y="272415"/>
                  </a:lnTo>
                  <a:lnTo>
                    <a:pt x="0" y="533400"/>
                  </a:lnTo>
                  <a:lnTo>
                    <a:pt x="15240" y="544830"/>
                  </a:lnTo>
                  <a:lnTo>
                    <a:pt x="219551" y="272415"/>
                  </a:lnTo>
                  <a:lnTo>
                    <a:pt x="15240" y="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rnd">
              <a:solidFill>
                <a:schemeClr val="bg1">
                  <a:lumMod val="7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FEB8AED-6CB9-F3B8-95A1-D018CED6C64F}"/>
                </a:ext>
              </a:extLst>
            </p:cNvPr>
            <p:cNvSpPr/>
            <p:nvPr/>
          </p:nvSpPr>
          <p:spPr>
            <a:xfrm>
              <a:off x="6124099" y="3156584"/>
              <a:ext cx="219551" cy="544829"/>
            </a:xfrm>
            <a:custGeom>
              <a:avLst/>
              <a:gdLst>
                <a:gd name="connsiteX0" fmla="*/ 0 w 219551"/>
                <a:gd name="connsiteY0" fmla="*/ 11430 h 544829"/>
                <a:gd name="connsiteX1" fmla="*/ 195739 w 219551"/>
                <a:gd name="connsiteY1" fmla="*/ 272415 h 544829"/>
                <a:gd name="connsiteX2" fmla="*/ 0 w 219551"/>
                <a:gd name="connsiteY2" fmla="*/ 533400 h 544829"/>
                <a:gd name="connsiteX3" fmla="*/ 15240 w 219551"/>
                <a:gd name="connsiteY3" fmla="*/ 544830 h 544829"/>
                <a:gd name="connsiteX4" fmla="*/ 219551 w 219551"/>
                <a:gd name="connsiteY4" fmla="*/ 272415 h 544829"/>
                <a:gd name="connsiteX5" fmla="*/ 15240 w 219551"/>
                <a:gd name="connsiteY5" fmla="*/ 0 h 544829"/>
                <a:gd name="connsiteX6" fmla="*/ 0 w 219551"/>
                <a:gd name="connsiteY6" fmla="*/ 11430 h 54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51" h="544829">
                  <a:moveTo>
                    <a:pt x="0" y="11430"/>
                  </a:moveTo>
                  <a:lnTo>
                    <a:pt x="195739" y="272415"/>
                  </a:lnTo>
                  <a:lnTo>
                    <a:pt x="0" y="533400"/>
                  </a:lnTo>
                  <a:lnTo>
                    <a:pt x="15240" y="544830"/>
                  </a:lnTo>
                  <a:lnTo>
                    <a:pt x="219551" y="272415"/>
                  </a:lnTo>
                  <a:lnTo>
                    <a:pt x="15240" y="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rnd">
              <a:solidFill>
                <a:schemeClr val="bg1">
                  <a:lumMod val="7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E6AB4BAB-71D7-0E1D-EA7F-3A2DCD9F919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22960297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DF542-1F40-72C7-CE38-01D5DB41AD5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707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339EA3B-1307-0A69-1A86-BD7B8893EF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2387072"/>
            <a:ext cx="3245756" cy="590931"/>
          </a:xfrm>
          <a:noFill/>
        </p:spPr>
        <p:txBody>
          <a:bodyPr wrap="square" lIns="0" rIns="0" rtlCol="0">
            <a:spAutoFit/>
          </a:bodyPr>
          <a:lstStyle>
            <a:lvl1pPr>
              <a:defRPr lang="en-US" sz="3600" b="0" dirty="0"/>
            </a:lvl1pPr>
          </a:lstStyle>
          <a:p>
            <a:pPr lvl="0">
              <a:spcBef>
                <a:spcPct val="0"/>
              </a:spcBef>
            </a:pPr>
            <a:r>
              <a:rPr lang="en-US"/>
              <a:t>Heading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11A1E122-AE87-9336-759E-3E8333A389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3879998"/>
            <a:ext cx="3245756" cy="2082652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551ADE-0878-A646-4CD0-828F4D3999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87501" y="1904853"/>
            <a:ext cx="3245756" cy="351971"/>
          </a:xfrm>
        </p:spPr>
        <p:txBody>
          <a:bodyPr tIns="0" bIns="0" anchor="ctr"/>
          <a:lstStyle>
            <a:lvl1pPr>
              <a:defRPr sz="20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tep 1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5491FAE-BC17-8F2D-2EEC-9A428D46BE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6016" y="2387072"/>
            <a:ext cx="3245756" cy="590931"/>
          </a:xfrm>
          <a:noFill/>
        </p:spPr>
        <p:txBody>
          <a:bodyPr wrap="square" lIns="0" rIns="0" rtlCol="0">
            <a:spAutoFit/>
          </a:bodyPr>
          <a:lstStyle>
            <a:lvl1pPr>
              <a:defRPr lang="en-US" sz="3600" b="0" dirty="0">
                <a:solidFill>
                  <a:schemeClr val="bg1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Heading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6F880CBF-73A6-52F4-F7BF-82AA5D06FE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6016" y="3879998"/>
            <a:ext cx="3245756" cy="2082652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A95C547-E082-9643-78DC-7D01481A0F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76016" y="1904853"/>
            <a:ext cx="3245756" cy="351971"/>
          </a:xfrm>
        </p:spPr>
        <p:txBody>
          <a:bodyPr tIns="0" bIns="0" anchor="ctr"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tep 2</a:t>
            </a:r>
          </a:p>
        </p:txBody>
      </p:sp>
      <p:sp>
        <p:nvSpPr>
          <p:cNvPr id="2" name="Picture Placeholder 23">
            <a:extLst>
              <a:ext uri="{FF2B5EF4-FFF2-40B4-BE49-F238E27FC236}">
                <a16:creationId xmlns:a16="http://schemas.microsoft.com/office/drawing/2014/main" id="{AF2B0862-F90C-4EC8-0844-75FA42A902D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9339938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DD36A-E0D8-2177-AEC0-3A1913433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CD0A9C3-6FAA-34DA-0C42-740245E9966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F579A59-7057-0B12-A870-57BCC3743A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497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C1DF29E-EFB5-EE65-9714-E4F3FE792A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119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5F224B4-585B-D58B-67C8-928F32B20D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741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C55BAA3-5DA7-A3F6-7DE4-C689EC7130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B72E0EB8-4164-4965-48EF-C39932CFFD3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97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1CE9F4CF-4896-38CF-D17D-2A4D722ACD8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19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DDB80103-EB3D-7B18-8BEA-51FB4891B8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741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8B3436F4-0049-9A1E-CCE9-F84A34D9585E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42069944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s in black bg">
    <p:bg>
      <p:bgPr>
        <a:solidFill>
          <a:srgbClr val="0000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153770"/>
            <a:ext cx="3220170" cy="1060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153770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D81B29-0EE7-0BBF-5C82-BAB5AD2D10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497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2ADD62B0-7DB2-ACE9-7B58-D145E5FE08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119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59491090-1591-DDB6-B58F-87210B4E2E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741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97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0D0E282-8119-BA44-4607-C60EA11BD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19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C961C1-2EAD-4AA0-CD8C-12E3A86D86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741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96CD362E-4C3F-2DC6-CDB5-882F01110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5875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579D04-6B96-3EB7-B3E7-D45A32FF9C1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9497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2B390C4B-03B9-28E6-2E73-1FBBCC00B80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3119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DEE5F053-AF15-0A20-2378-45245421C58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6741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59A9F710-31D6-3479-4AB7-25A7231F448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5875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DE448AB2-D1C7-14B0-0BDD-85E4A749554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9497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D5402C74-AE1C-A15F-C283-09438D2AFAB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3119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628B38A7-D829-A81B-3EAA-1B48341FA69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741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EE5E663E-7B3E-1CF1-ED22-9F532E38285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39725" y="265010"/>
            <a:ext cx="960120" cy="256007"/>
          </a:xfrm>
          <a:noFill/>
        </p:spPr>
        <p:txBody>
          <a:bodyPr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27769696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hotos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153770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153770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D81B29-0EE7-0BBF-5C82-BAB5AD2D10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72707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2ADD62B0-7DB2-ACE9-7B58-D145E5FE08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57914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59491090-1591-DDB6-B58F-87210B4E2E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8328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72707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0D0E282-8119-BA44-4607-C60EA11BD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57914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C961C1-2EAD-4AA0-CD8C-12E3A86D86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28328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96CD362E-4C3F-2DC6-CDB5-882F01110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587500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579D04-6B96-3EB7-B3E7-D45A32FF9C1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472707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2B390C4B-03B9-28E6-2E73-1FBBCC00B80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357914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DEE5F053-AF15-0A20-2378-45245421C58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128328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59A9F710-31D6-3479-4AB7-25A7231F448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587500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DE448AB2-D1C7-14B0-0BDD-85E4A749554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707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D5402C74-AE1C-A15F-C283-09438D2AFAB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7914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628B38A7-D829-A81B-3EAA-1B48341FA69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28328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E61A8B43-2894-7337-E3F5-9DA4B739674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43121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4AA5387-CDFF-7441-3277-FA7EDF6A066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243121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A168A3B6-08BB-4DF7-BDE0-54424C11AFB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243121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D0D167EC-AC55-3704-01E1-68EC13D95E5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243121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23">
            <a:extLst>
              <a:ext uri="{FF2B5EF4-FFF2-40B4-BE49-F238E27FC236}">
                <a16:creationId xmlns:a16="http://schemas.microsoft.com/office/drawing/2014/main" id="{339953E1-5637-44F7-F835-2AA0FA2F183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57964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ackground Im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178443-E740-ED40-8F21-433A33952DAC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6C5C8A9-EBA4-8C47-8396-563326584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736C01-1AC6-9B47-AFDF-353B496D41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55828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lumn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153770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153770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498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0237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C3F20C1-B865-8E28-274C-72A20390D235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565358"/>
            <a:ext cx="907421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630A55C-8E8F-64AF-DA5A-A3A2D3B80D3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92976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F04F3126-7255-517D-C7DB-C6464F8D10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645714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DF88EC9C-0451-FC8C-4FAC-D7648E1835B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87498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95467889-9605-7072-93DE-3968B003179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940237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6D4C0979-9088-3275-0F92-08BCC5C7B64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292976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64874FD5-B9FC-7F5E-D9A6-885EDB60EA8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645714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A4A71F3-2F06-3381-03D9-35BDA755DAD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587498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88E02E27-1C8F-D529-73AE-D5CE0794A34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940237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FFD32031-78E8-B697-7CE4-C21A41088A0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292976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E4500AE-7E43-B24D-41BD-5BF0339E0BD6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645714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6">
            <a:extLst>
              <a:ext uri="{FF2B5EF4-FFF2-40B4-BE49-F238E27FC236}">
                <a16:creationId xmlns:a16="http://schemas.microsoft.com/office/drawing/2014/main" id="{69AF44F7-2FFF-37D9-8631-8701A7B82C0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587498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D0523D15-DF59-B5D5-DFF0-E52B1587911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940237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16">
            <a:extLst>
              <a:ext uri="{FF2B5EF4-FFF2-40B4-BE49-F238E27FC236}">
                <a16:creationId xmlns:a16="http://schemas.microsoft.com/office/drawing/2014/main" id="{7048E593-189B-0E96-517B-CA5F627EC12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92976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6">
            <a:extLst>
              <a:ext uri="{FF2B5EF4-FFF2-40B4-BE49-F238E27FC236}">
                <a16:creationId xmlns:a16="http://schemas.microsoft.com/office/drawing/2014/main" id="{680D3807-A1A9-85BF-96E5-C31B497B43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645714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B705F1E8-99A4-3F97-D6A6-C51E67E5B6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12557680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lumn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752" y="1024563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4738" y="1024563"/>
            <a:ext cx="5777510" cy="1060414"/>
          </a:xfrm>
        </p:spPr>
        <p:txBody>
          <a:bodyPr tIns="72000" bIns="72000"/>
          <a:lstStyle>
            <a:lvl1pPr>
              <a:lnSpc>
                <a:spcPct val="100000"/>
              </a:lnSpc>
              <a:defRPr sz="12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19753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212768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C3F20C1-B865-8E28-274C-72A20390D235}"/>
              </a:ext>
            </a:extLst>
          </p:cNvPr>
          <p:cNvCxnSpPr>
            <a:cxnSpLocks/>
          </p:cNvCxnSpPr>
          <p:nvPr userDrawn="1"/>
        </p:nvCxnSpPr>
        <p:spPr>
          <a:xfrm>
            <a:off x="1219752" y="2545480"/>
            <a:ext cx="9752496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630A55C-8E8F-64AF-DA5A-A3A2D3B80D3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205783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F04F3126-7255-517D-C7DB-C6464F8D10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198798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DF88EC9C-0451-FC8C-4FAC-D7648E1835B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19753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95467889-9605-7072-93DE-3968B003179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12768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6D4C0979-9088-3275-0F92-08BCC5C7B64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205783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64874FD5-B9FC-7F5E-D9A6-885EDB60EA8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98798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A4A71F3-2F06-3381-03D9-35BDA755DAD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219753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88E02E27-1C8F-D529-73AE-D5CE0794A34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212768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FFD32031-78E8-B697-7CE4-C21A41088A0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205783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E4500AE-7E43-B24D-41BD-5BF0339E0BD6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98798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6">
            <a:extLst>
              <a:ext uri="{FF2B5EF4-FFF2-40B4-BE49-F238E27FC236}">
                <a16:creationId xmlns:a16="http://schemas.microsoft.com/office/drawing/2014/main" id="{69AF44F7-2FFF-37D9-8631-8701A7B82C0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219753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D0523D15-DF59-B5D5-DFF0-E52B1587911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212768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16">
            <a:extLst>
              <a:ext uri="{FF2B5EF4-FFF2-40B4-BE49-F238E27FC236}">
                <a16:creationId xmlns:a16="http://schemas.microsoft.com/office/drawing/2014/main" id="{7048E593-189B-0E96-517B-CA5F627EC12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205783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6">
            <a:extLst>
              <a:ext uri="{FF2B5EF4-FFF2-40B4-BE49-F238E27FC236}">
                <a16:creationId xmlns:a16="http://schemas.microsoft.com/office/drawing/2014/main" id="{680D3807-A1A9-85BF-96E5-C31B497B43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198798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93F040FD-4B23-1ECF-2408-774920E7C0A0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191813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4990C59E-2AEA-C901-0E46-185FAD8A9F4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91813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AA06B83-5A50-914B-081B-1BC2880D89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9191813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27B71FB1-390B-E61C-A0BF-504DA710412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191813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F435AB47-EBE4-B642-80CB-0927ED1ED6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9203144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photo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32062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6550" y="1432062"/>
            <a:ext cx="5325166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D81B29-0EE7-0BBF-5C82-BAB5AD2D10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62025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2ADD62B0-7DB2-ACE9-7B58-D145E5FE08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36550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59491090-1591-DDB6-B58F-87210B4E2E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85601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62025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0D0E282-8119-BA44-4607-C60EA11BD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36550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C961C1-2EAD-4AA0-CD8C-12E3A86D86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5601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E61A8B43-2894-7337-E3F5-9DA4B739674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11075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4AA5387-CDFF-7441-3277-FA7EDF6A066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211075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B9E848A8-ED20-A01D-8452-DC6C7AA7F96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87499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EF9ECBFB-4B18-93F6-C0C1-AC39AA0C755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462025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D155C5D4-8235-ED2D-D03A-04DF5D2A27C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36550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93131DC4-AB2A-F1AD-9A69-48AB4DB1602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211075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5556459-76A0-49F0-9C7C-0F15208BEB2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85601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9795AE51-0533-A934-9AA3-3E66C21F4812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85909433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melin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6B6D3B0-CF4C-09EC-63DA-7CD72C7BC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78" y="4018290"/>
            <a:ext cx="11147328" cy="0"/>
          </a:xfrm>
          <a:prstGeom prst="line">
            <a:avLst/>
          </a:prstGeom>
          <a:ln w="34925">
            <a:solidFill>
              <a:schemeClr val="bg1">
                <a:lumMod val="85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480131"/>
          </a:xfrm>
        </p:spPr>
        <p:txBody>
          <a:bodyPr>
            <a:sp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E340B28-0979-5B5C-93E1-CD3BBCCD7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729" t="18414" r="21670" b="18677"/>
          <a:stretch/>
        </p:blipFill>
        <p:spPr>
          <a:xfrm>
            <a:off x="376556" y="3916832"/>
            <a:ext cx="182568" cy="202916"/>
          </a:xfrm>
          <a:prstGeom prst="rect">
            <a:avLst/>
          </a:prstGeom>
        </p:spPr>
      </p:pic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6628A1EE-FA3C-4E97-BB6D-C65723F4A5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7795428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melin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6B6D3B0-CF4C-09EC-63DA-7CD72C7BC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78" y="4015380"/>
            <a:ext cx="11147328" cy="0"/>
          </a:xfrm>
          <a:prstGeom prst="line">
            <a:avLst/>
          </a:prstGeom>
          <a:ln w="34925">
            <a:solidFill>
              <a:schemeClr val="bg1">
                <a:lumMod val="85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480131"/>
          </a:xfrm>
        </p:spPr>
        <p:txBody>
          <a:bodyPr>
            <a:sp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E340B28-0979-5B5C-93E1-CD3BBCCD7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729" t="18414" r="21670" b="18677"/>
          <a:stretch/>
        </p:blipFill>
        <p:spPr>
          <a:xfrm>
            <a:off x="376556" y="3916832"/>
            <a:ext cx="182568" cy="202916"/>
          </a:xfrm>
          <a:prstGeom prst="rect">
            <a:avLst/>
          </a:prstGeom>
        </p:spPr>
      </p:pic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16A979D4-292A-8C8D-D658-CDC608D5D4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48574380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melin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6B6D3B0-CF4C-09EC-63DA-7CD72C7BC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78" y="4015380"/>
            <a:ext cx="11147328" cy="0"/>
          </a:xfrm>
          <a:prstGeom prst="line">
            <a:avLst/>
          </a:prstGeom>
          <a:ln w="34925">
            <a:solidFill>
              <a:schemeClr val="bg1">
                <a:lumMod val="85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480131"/>
          </a:xfrm>
        </p:spPr>
        <p:txBody>
          <a:bodyPr>
            <a:sp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E340B28-0979-5B5C-93E1-CD3BBCCD7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729" t="18414" r="21670" b="18677"/>
          <a:stretch/>
        </p:blipFill>
        <p:spPr>
          <a:xfrm>
            <a:off x="376556" y="3916832"/>
            <a:ext cx="182568" cy="202916"/>
          </a:xfrm>
          <a:prstGeom prst="rect">
            <a:avLst/>
          </a:prstGeom>
        </p:spPr>
      </p:pic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2AFA3FA2-B686-3C64-7EA2-DE2E3D8913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28764097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p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2522754-05FF-A483-2262-26B3885C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499" y="1058837"/>
            <a:ext cx="3319272" cy="1421928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66A6EA0-75FA-71AF-51C9-1252A021C08C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587499" y="2669320"/>
            <a:ext cx="3319272" cy="246221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600" b="1">
                <a:solidFill>
                  <a:srgbClr val="003079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43A69FA9-466B-74C6-88EB-D8FAA89A3047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587498" y="3029185"/>
            <a:ext cx="3319272" cy="777705"/>
          </a:xfrm>
        </p:spPr>
        <p:txBody>
          <a:bodyPr tIns="0" bIns="0" anchor="t">
            <a:no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03079"/>
              </a:buClr>
              <a:buSzPct val="175000"/>
              <a:buFont typeface="Arial" panose="020B0604020202020204" pitchFamily="34" charset="0"/>
              <a:buChar char="●"/>
              <a:defRPr sz="11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42B8A185-02CA-E10C-DE66-58A74095979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1587499" y="3950722"/>
            <a:ext cx="3319272" cy="246221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600" b="1">
                <a:solidFill>
                  <a:srgbClr val="6CBDF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375E91D9-D717-C0A7-2C3C-875E8603B358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587498" y="4310587"/>
            <a:ext cx="3319272" cy="777705"/>
          </a:xfrm>
        </p:spPr>
        <p:txBody>
          <a:bodyPr tIns="0" bIns="0" anchor="t">
            <a:no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6CBDF1"/>
              </a:buClr>
              <a:buSzPct val="175000"/>
              <a:buFont typeface="Arial" panose="020B0604020202020204" pitchFamily="34" charset="0"/>
              <a:buChar char="●"/>
              <a:defRPr sz="11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2B4CE37A-3A1F-93B1-7534-9EE9B12C9529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587499" y="5232127"/>
            <a:ext cx="3319272" cy="246221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600" b="1">
                <a:solidFill>
                  <a:srgbClr val="7C5AE8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502BFCD4-2994-2F3B-A1D0-212B5940108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1587498" y="5591993"/>
            <a:ext cx="3319272" cy="656408"/>
          </a:xfrm>
        </p:spPr>
        <p:txBody>
          <a:bodyPr tIns="0" bIns="0" anchor="t">
            <a:no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7C5AE8"/>
              </a:buClr>
              <a:buSzPct val="175000"/>
              <a:buFont typeface="Arial" panose="020B0604020202020204" pitchFamily="34" charset="0"/>
              <a:buChar char="●"/>
              <a:defRPr sz="11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Picture Placeholder 23">
            <a:extLst>
              <a:ext uri="{FF2B5EF4-FFF2-40B4-BE49-F238E27FC236}">
                <a16:creationId xmlns:a16="http://schemas.microsoft.com/office/drawing/2014/main" id="{DF399E02-F269-4166-ABEB-7B79A1D1EA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265010"/>
            <a:ext cx="960120" cy="256007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53134207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rgbClr val="0000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656A6DF-A10D-326D-E6BD-06EE8366E1F3}"/>
              </a:ext>
            </a:extLst>
          </p:cNvPr>
          <p:cNvSpPr/>
          <p:nvPr userDrawn="1"/>
        </p:nvSpPr>
        <p:spPr>
          <a:xfrm>
            <a:off x="5605313" y="0"/>
            <a:ext cx="6586687" cy="6858000"/>
          </a:xfrm>
          <a:custGeom>
            <a:avLst/>
            <a:gdLst>
              <a:gd name="connsiteX0" fmla="*/ 3344303 w 6586687"/>
              <a:gd name="connsiteY0" fmla="*/ 0 h 6858000"/>
              <a:gd name="connsiteX1" fmla="*/ 6586687 w 6586687"/>
              <a:gd name="connsiteY1" fmla="*/ 0 h 6858000"/>
              <a:gd name="connsiteX2" fmla="*/ 6586687 w 6586687"/>
              <a:gd name="connsiteY2" fmla="*/ 2702758 h 6858000"/>
              <a:gd name="connsiteX3" fmla="*/ 4560384 w 6586687"/>
              <a:gd name="connsiteY3" fmla="*/ 6858000 h 6858000"/>
              <a:gd name="connsiteX4" fmla="*/ 0 w 658668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6687" h="6858000">
                <a:moveTo>
                  <a:pt x="3344303" y="0"/>
                </a:moveTo>
                <a:lnTo>
                  <a:pt x="6586687" y="0"/>
                </a:lnTo>
                <a:lnTo>
                  <a:pt x="6586687" y="2702758"/>
                </a:lnTo>
                <a:lnTo>
                  <a:pt x="456038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DA5531-B54A-BADD-9A63-1E0BC53B5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686637"/>
            <a:ext cx="6253843" cy="170636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6600" spc="147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8369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35E40065-98C5-A52A-DBEB-15BE48B0EF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5300" y="369888"/>
            <a:ext cx="2062843" cy="500969"/>
          </a:xfrm>
          <a:noFill/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65601006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656A6DF-A10D-326D-E6BD-06EE8366E1F3}"/>
              </a:ext>
            </a:extLst>
          </p:cNvPr>
          <p:cNvSpPr/>
          <p:nvPr userDrawn="1"/>
        </p:nvSpPr>
        <p:spPr>
          <a:xfrm>
            <a:off x="5605313" y="0"/>
            <a:ext cx="6586687" cy="6858000"/>
          </a:xfrm>
          <a:custGeom>
            <a:avLst/>
            <a:gdLst>
              <a:gd name="connsiteX0" fmla="*/ 3344303 w 6586687"/>
              <a:gd name="connsiteY0" fmla="*/ 0 h 6858000"/>
              <a:gd name="connsiteX1" fmla="*/ 6586687 w 6586687"/>
              <a:gd name="connsiteY1" fmla="*/ 0 h 6858000"/>
              <a:gd name="connsiteX2" fmla="*/ 6586687 w 6586687"/>
              <a:gd name="connsiteY2" fmla="*/ 2702758 h 6858000"/>
              <a:gd name="connsiteX3" fmla="*/ 4560384 w 6586687"/>
              <a:gd name="connsiteY3" fmla="*/ 6858000 h 6858000"/>
              <a:gd name="connsiteX4" fmla="*/ 0 w 658668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6687" h="6858000">
                <a:moveTo>
                  <a:pt x="3344303" y="0"/>
                </a:moveTo>
                <a:lnTo>
                  <a:pt x="6586687" y="0"/>
                </a:lnTo>
                <a:lnTo>
                  <a:pt x="6586687" y="2702758"/>
                </a:lnTo>
                <a:lnTo>
                  <a:pt x="456038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DA5531-B54A-BADD-9A63-1E0BC53B5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686637"/>
            <a:ext cx="6253843" cy="170636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6600" spc="147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8369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35E40065-98C5-A52A-DBEB-15BE48B0EF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5300" y="369888"/>
            <a:ext cx="2062843" cy="500969"/>
          </a:xfrm>
          <a:noFill/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9163218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solidFill>
          <a:srgbClr val="0000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031042-5226-67D6-9DA9-2276BB11FE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48128" y="2564892"/>
            <a:ext cx="7095744" cy="172821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0351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1BF31-F7FF-A14B-9BBB-1F9933825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F4AA03-4482-EE4E-A028-4E17C2D89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36510-055A-8049-9527-A48464D79E44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579630-660B-8547-88D7-B2DF00D74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7D4656-9892-3F41-AE5C-EA842F469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94BD7E-36D9-1743-B9BE-F54728AF42F2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A picture containing calendar&#10;&#10;Description automatically generated">
            <a:extLst>
              <a:ext uri="{FF2B5EF4-FFF2-40B4-BE49-F238E27FC236}">
                <a16:creationId xmlns:a16="http://schemas.microsoft.com/office/drawing/2014/main" id="{B9338339-760A-8645-A637-5F126FA8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7" cy="4385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30913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87809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696E60-0D9D-634E-B82A-C3BD47E66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9FD86E-2924-BE41-A6EB-8225E0ECF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F56E32-E700-BB49-9C47-D991DB716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0EDF74-A32B-9D42-A3CE-E3ACAE1174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955040"/>
            <a:ext cx="12203385" cy="190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2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ot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696E60-0D9D-634E-B82A-C3BD47E66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9FD86E-2924-BE41-A6EB-8225E0ECF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F56E32-E700-BB49-9C47-D991DB716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0EDF74-A32B-9D42-A3CE-E3ACAE1174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955040"/>
            <a:ext cx="12203385" cy="1902960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A312418-5247-E4F2-B1F5-A4FF9AB0FC36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9B34212-256F-DBB4-01A4-37B92A75C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tx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178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A738F-7011-AD4A-8E08-F75A0220E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DAFD83-CB97-944B-B7C5-BD5F245992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B45BE1-1F7D-894B-89E9-1C525D2C9B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FC5549-063C-164D-BE05-33ADF9069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0F913E-EEED-6B47-A79F-89F53858C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63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V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419D95-E91A-48FD-B384-3424A2D3A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68C2D-1E10-4518-AD9E-65DE9A9C4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A7F0F-1E82-467E-95A1-0B9C6DFF2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E99861-8243-1847-B99A-191E3BAD896A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3E727E6-9517-7D4B-8E0E-5C21C875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28FABC-25CB-AC42-8A12-7EC31EACFB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5763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gline Divider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576A7BA-DDF8-A048-A53B-ECAFB88FCA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DA8B37-37E7-2F40-8B50-841FB47C228D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8E68494-929B-5840-8726-5D995F704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85795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and ManageV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person, indoor, controller&#10;&#10;Description automatically generated">
            <a:extLst>
              <a:ext uri="{FF2B5EF4-FFF2-40B4-BE49-F238E27FC236}">
                <a16:creationId xmlns:a16="http://schemas.microsoft.com/office/drawing/2014/main" id="{6B008DD7-3D2F-BB4E-A992-692F3D7DFA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4381500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520DEA-D351-3547-8707-0ED22BC32DFC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F231FD0-6BD8-7040-8931-9D3316A13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38010"/>
            <a:ext cx="1053915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4393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Divider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576A7BA-DDF8-A048-A53B-ECAFB88FCA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37D48-1D2C-9940-9BF6-5ABBC74E7DF7}"/>
              </a:ext>
            </a:extLst>
          </p:cNvPr>
          <p:cNvCxnSpPr>
            <a:cxnSpLocks/>
          </p:cNvCxnSpPr>
          <p:nvPr userDrawn="1"/>
        </p:nvCxnSpPr>
        <p:spPr>
          <a:xfrm>
            <a:off x="3009133" y="3880240"/>
            <a:ext cx="617373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5037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line Divider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576A7BA-DDF8-A048-A53B-ECAFB88FCA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5C37D48-1D2C-9940-9BF6-5ABBC74E7DF7}"/>
              </a:ext>
            </a:extLst>
          </p:cNvPr>
          <p:cNvCxnSpPr>
            <a:cxnSpLocks/>
          </p:cNvCxnSpPr>
          <p:nvPr userDrawn="1"/>
        </p:nvCxnSpPr>
        <p:spPr>
          <a:xfrm>
            <a:off x="3009133" y="3880240"/>
            <a:ext cx="617373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2966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B8393D-28D2-D94F-AE66-FE5449120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0931A9-E028-AB45-8BBF-366D5B815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4332F1-8C7F-1749-98FF-4DA348DE1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911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C24D381-E2EC-A742-9271-86ADB5E594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6239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4A51C7-9BE2-D148-8FE0-59D415B39B39}"/>
              </a:ext>
            </a:extLst>
          </p:cNvPr>
          <p:cNvSpPr/>
          <p:nvPr userDrawn="1"/>
        </p:nvSpPr>
        <p:spPr>
          <a:xfrm>
            <a:off x="-1" y="0"/>
            <a:ext cx="12192001" cy="2336800"/>
          </a:xfrm>
          <a:prstGeom prst="rect">
            <a:avLst/>
          </a:prstGeom>
          <a:gradFill>
            <a:gsLst>
              <a:gs pos="48000">
                <a:srgbClr val="000000">
                  <a:alpha val="43000"/>
                </a:srgbClr>
              </a:gs>
              <a:gs pos="18000">
                <a:schemeClr val="tx1">
                  <a:alpha val="76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607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9E687BB-BFDE-2C44-8F10-4E224A8C9862}"/>
              </a:ext>
            </a:extLst>
          </p:cNvPr>
          <p:cNvSpPr/>
          <p:nvPr userDrawn="1"/>
        </p:nvSpPr>
        <p:spPr>
          <a:xfrm>
            <a:off x="-1" y="0"/>
            <a:ext cx="12192001" cy="2336800"/>
          </a:xfrm>
          <a:prstGeom prst="rect">
            <a:avLst/>
          </a:prstGeom>
          <a:gradFill>
            <a:gsLst>
              <a:gs pos="74000">
                <a:srgbClr val="000000">
                  <a:alpha val="43000"/>
                </a:srgbClr>
              </a:gs>
              <a:gs pos="18000">
                <a:schemeClr val="tx1">
                  <a:alpha val="76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AF2B075-B745-4A41-8A51-563DDD7505DD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6AC00B4-1DFF-E145-8855-C909E0400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38010"/>
            <a:ext cx="1053915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38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520DEA-D351-3547-8707-0ED22BC32DFC}"/>
              </a:ext>
            </a:extLst>
          </p:cNvPr>
          <p:cNvCxnSpPr>
            <a:cxnSpLocks/>
          </p:cNvCxnSpPr>
          <p:nvPr userDrawn="1"/>
        </p:nvCxnSpPr>
        <p:spPr>
          <a:xfrm>
            <a:off x="389255" y="1888661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F231FD0-6BD8-7040-8931-9D3316A13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830110"/>
            <a:ext cx="4711767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9058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A4899E-2B07-F542-8AB9-BC0E20707E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7D307-F8E2-6247-93DD-79678ADC68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F176E-F93D-154E-9123-2C6CE4C3D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126AA9-DA7C-CD46-A985-2033E705A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DCFA5-D722-4742-8451-BDF09C1B1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9344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F231FD0-6BD8-7040-8931-9D3316A13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830110"/>
            <a:ext cx="4711767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E84700F-2C72-5642-9188-AF15DD254A23}"/>
              </a:ext>
            </a:extLst>
          </p:cNvPr>
          <p:cNvCxnSpPr>
            <a:cxnSpLocks/>
          </p:cNvCxnSpPr>
          <p:nvPr userDrawn="1"/>
        </p:nvCxnSpPr>
        <p:spPr>
          <a:xfrm>
            <a:off x="389255" y="1888661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4023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6D585EAD-CF34-4841-B965-4A7E2F39DE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6209070" cy="6858000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2520DEA-D351-3547-8707-0ED22BC32DFC}"/>
              </a:ext>
            </a:extLst>
          </p:cNvPr>
          <p:cNvCxnSpPr>
            <a:cxnSpLocks/>
          </p:cNvCxnSpPr>
          <p:nvPr userDrawn="1"/>
        </p:nvCxnSpPr>
        <p:spPr>
          <a:xfrm>
            <a:off x="389255" y="1888661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F231FD0-6BD8-7040-8931-9D3316A13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830110"/>
            <a:ext cx="4711767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993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87BCEE-85B7-914E-A404-7D71F60A8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36510-055A-8049-9527-A48464D79E44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892D8-3D59-B543-8639-8FF865BF3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5BF76F-1F76-2046-8F12-C86DAFA88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94BD7E-36D9-1743-B9BE-F54728AF42F2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FC5932B-4CB2-C84A-BBF3-59CCBDDEB64F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1144F2F-D319-9445-BA66-3C05119AE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38010"/>
            <a:ext cx="1053915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tx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0237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63CD5C4-6D56-4157-9B25-2ABD3737F0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979" y="323799"/>
            <a:ext cx="3752408" cy="68750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7FF198C2-D616-E54E-AAE9-62ADAEE72891}"/>
              </a:ext>
            </a:extLst>
          </p:cNvPr>
          <p:cNvSpPr/>
          <p:nvPr userDrawn="1"/>
        </p:nvSpPr>
        <p:spPr>
          <a:xfrm>
            <a:off x="6818638" y="2967575"/>
            <a:ext cx="5373359" cy="556709"/>
          </a:xfrm>
          <a:prstGeom prst="rect">
            <a:avLst/>
          </a:prstGeom>
          <a:solidFill>
            <a:srgbClr val="1D1F1F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507C12F-27DE-2440-8F7D-8C8AF52BD213}"/>
              </a:ext>
            </a:extLst>
          </p:cNvPr>
          <p:cNvSpPr/>
          <p:nvPr userDrawn="1"/>
        </p:nvSpPr>
        <p:spPr>
          <a:xfrm>
            <a:off x="6818638" y="2936313"/>
            <a:ext cx="5373363" cy="45719"/>
          </a:xfrm>
          <a:prstGeom prst="rect">
            <a:avLst/>
          </a:prstGeom>
          <a:solidFill>
            <a:srgbClr val="F6881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5856313-67E5-DA42-8F91-947A63EBD64A}"/>
              </a:ext>
            </a:extLst>
          </p:cNvPr>
          <p:cNvSpPr/>
          <p:nvPr userDrawn="1"/>
        </p:nvSpPr>
        <p:spPr>
          <a:xfrm>
            <a:off x="6820124" y="2382165"/>
            <a:ext cx="5371873" cy="556709"/>
          </a:xfrm>
          <a:prstGeom prst="rect">
            <a:avLst/>
          </a:prstGeom>
          <a:solidFill>
            <a:srgbClr val="1D1F1F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54878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dient 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B6109BBF-BAC6-464B-ABA7-FDEDBD20C170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-1"/>
            <a:ext cx="12192000" cy="751257"/>
          </a:xfrm>
          <a:prstGeom prst="rect">
            <a:avLst/>
          </a:prstGeom>
          <a:gradFill>
            <a:gsLst>
              <a:gs pos="0">
                <a:srgbClr val="00A9E0">
                  <a:lumMod val="100000"/>
                </a:srgbClr>
              </a:gs>
              <a:gs pos="100000">
                <a:srgbClr val="6CC24A"/>
              </a:gs>
            </a:gsLst>
            <a:lin ang="2700000" scaled="0"/>
          </a:gra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67C7CB4-F535-C44E-8773-CF43223B63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97282" y="121920"/>
            <a:ext cx="9997439" cy="487680"/>
          </a:xfrm>
        </p:spPr>
        <p:txBody>
          <a:bodyPr/>
          <a:lstStyle>
            <a:lvl1pPr marL="0" indent="0" algn="ctr">
              <a:buNone/>
              <a:defRPr sz="26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6633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ntent-1col-5D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B2C8C-BBC3-4CB4-A679-24462238F4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342" y="392910"/>
            <a:ext cx="9213975" cy="64452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68CF85D-6495-324D-BC38-D2FE5E6B5E6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530798" y="376054"/>
            <a:ext cx="4634748" cy="6219618"/>
          </a:xfrm>
        </p:spPr>
        <p:txBody>
          <a:bodyPr lIns="0" tIns="182880" rIns="182880" bIns="731520" anchor="ctr" anchorCtr="0"/>
          <a:lstStyle>
            <a:lvl1pPr marL="12700" indent="-12700" algn="ctr">
              <a:buNone/>
              <a:tabLst/>
              <a:defRPr sz="1600"/>
            </a:lvl1pPr>
          </a:lstStyle>
          <a:p>
            <a:r>
              <a:rPr lang="en-US"/>
              <a:t>Product Imag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EA31F6-887C-B949-A8DC-3454B0525D4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428155" y="2145139"/>
            <a:ext cx="2695213" cy="897864"/>
          </a:xfrm>
        </p:spPr>
        <p:txBody>
          <a:bodyPr/>
          <a:lstStyle>
            <a:lvl1pPr marL="12700" indent="-12700">
              <a:buNone/>
              <a:tabLst/>
              <a:defRPr sz="1800" b="1"/>
            </a:lvl1pPr>
            <a:lvl2pPr marL="234950" indent="-220663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/>
            </a:lvl2pPr>
            <a:lvl3pPr marL="119063" indent="-119063">
              <a:buFont typeface="System Font Regular"/>
              <a:buChar char="–"/>
              <a:tabLst/>
              <a:defRPr sz="1200"/>
            </a:lvl3pPr>
          </a:lstStyle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Bullet Copy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0A9378-EA03-9742-A5C9-FBC1496800EA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pPr defTabSz="914126"/>
            <a:fld id="{F19F85D4-6AC3-4CF9-A1A5-831DFC2C241F}" type="slidenum">
              <a:rPr lang="en-US" smtClean="0">
                <a:solidFill>
                  <a:srgbClr val="000000"/>
                </a:solidFill>
                <a:latin typeface="Arial" panose="020B0604020202020204"/>
              </a:rPr>
              <a:pPr defTabSz="914126"/>
              <a:t>‹#›</a:t>
            </a:fld>
            <a:endParaRPr lang="en-US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A66351D-BFC6-3043-85DD-E1A10FF548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428155" y="3689126"/>
            <a:ext cx="2695213" cy="897864"/>
          </a:xfrm>
        </p:spPr>
        <p:txBody>
          <a:bodyPr/>
          <a:lstStyle>
            <a:lvl1pPr marL="12700" indent="-12700">
              <a:buNone/>
              <a:tabLst/>
              <a:defRPr sz="1800" b="1"/>
            </a:lvl1pPr>
            <a:lvl2pPr marL="234950" indent="-220663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/>
            </a:lvl2pPr>
            <a:lvl3pPr marL="119063" indent="-119063">
              <a:buFont typeface="System Font Regular"/>
              <a:buChar char="–"/>
              <a:tabLst/>
              <a:defRPr sz="1200"/>
            </a:lvl3pPr>
          </a:lstStyle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Bullet Copy </a:t>
            </a:r>
          </a:p>
        </p:txBody>
      </p:sp>
      <p:sp>
        <p:nvSpPr>
          <p:cNvPr id="16" name="Picture Placeholder 21">
            <a:extLst>
              <a:ext uri="{FF2B5EF4-FFF2-40B4-BE49-F238E27FC236}">
                <a16:creationId xmlns:a16="http://schemas.microsoft.com/office/drawing/2014/main" id="{04BE8B49-CE23-394F-83E5-3A4E9D88480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69180" y="1920174"/>
            <a:ext cx="545341" cy="619125"/>
          </a:xfrm>
        </p:spPr>
        <p:txBody>
          <a:bodyPr/>
          <a:lstStyle>
            <a:lvl1pPr algn="ctr">
              <a:buNone/>
              <a:defRPr sz="1600"/>
            </a:lvl1pPr>
          </a:lstStyle>
          <a:p>
            <a:r>
              <a:rPr lang="en-US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37156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_Distribution &amp; Wareho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C63CD5C4-6D56-4157-9B25-2ABD3737F0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979" y="323799"/>
            <a:ext cx="3752408" cy="68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569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4972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5/20/24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8507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7"/>
          <p:cNvSpPr/>
          <p:nvPr/>
        </p:nvSpPr>
        <p:spPr>
          <a:xfrm>
            <a:off x="3573641" y="0"/>
            <a:ext cx="8619067" cy="6768353"/>
          </a:xfrm>
          <a:custGeom>
            <a:avLst/>
            <a:gdLst/>
            <a:ahLst/>
            <a:cxnLst/>
            <a:rect l="l" t="t" r="r" b="b"/>
            <a:pathLst>
              <a:path w="7110730" h="7670800">
                <a:moveTo>
                  <a:pt x="4273893" y="7670800"/>
                </a:moveTo>
                <a:lnTo>
                  <a:pt x="575449" y="0"/>
                </a:lnTo>
                <a:lnTo>
                  <a:pt x="0" y="0"/>
                </a:lnTo>
                <a:lnTo>
                  <a:pt x="3699256" y="7670800"/>
                </a:lnTo>
                <a:lnTo>
                  <a:pt x="4273893" y="7670800"/>
                </a:lnTo>
                <a:close/>
              </a:path>
              <a:path w="7110730" h="7670800">
                <a:moveTo>
                  <a:pt x="6404813" y="7670800"/>
                </a:moveTo>
                <a:lnTo>
                  <a:pt x="2705544" y="0"/>
                </a:lnTo>
                <a:lnTo>
                  <a:pt x="1148842" y="0"/>
                </a:lnTo>
                <a:lnTo>
                  <a:pt x="4848110" y="7670800"/>
                </a:lnTo>
                <a:lnTo>
                  <a:pt x="6404813" y="7670800"/>
                </a:lnTo>
                <a:close/>
              </a:path>
              <a:path w="7110730" h="7670800">
                <a:moveTo>
                  <a:pt x="7110146" y="6741858"/>
                </a:moveTo>
                <a:lnTo>
                  <a:pt x="3857307" y="0"/>
                </a:lnTo>
                <a:lnTo>
                  <a:pt x="3281019" y="0"/>
                </a:lnTo>
                <a:lnTo>
                  <a:pt x="6980275" y="7670800"/>
                </a:lnTo>
                <a:lnTo>
                  <a:pt x="7110146" y="7670800"/>
                </a:lnTo>
                <a:lnTo>
                  <a:pt x="7110146" y="6741858"/>
                </a:lnTo>
                <a:close/>
              </a:path>
              <a:path w="7110730" h="7670800">
                <a:moveTo>
                  <a:pt x="7110146" y="2338654"/>
                </a:moveTo>
                <a:lnTo>
                  <a:pt x="5981522" y="0"/>
                </a:lnTo>
                <a:lnTo>
                  <a:pt x="5408092" y="0"/>
                </a:lnTo>
                <a:lnTo>
                  <a:pt x="7110146" y="3527666"/>
                </a:lnTo>
                <a:lnTo>
                  <a:pt x="7110146" y="2338654"/>
                </a:lnTo>
                <a:close/>
              </a:path>
            </a:pathLst>
          </a:custGeom>
          <a:solidFill>
            <a:srgbClr val="FFFFFF">
              <a:alpha val="5999"/>
            </a:srgbClr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8" name="bg object 18"/>
          <p:cNvSpPr/>
          <p:nvPr/>
        </p:nvSpPr>
        <p:spPr>
          <a:xfrm>
            <a:off x="0" y="6757192"/>
            <a:ext cx="12192000" cy="100853"/>
          </a:xfrm>
          <a:custGeom>
            <a:avLst/>
            <a:gdLst/>
            <a:ahLst/>
            <a:cxnLst/>
            <a:rect l="l" t="t" r="r" b="b"/>
            <a:pathLst>
              <a:path w="10058400" h="114300">
                <a:moveTo>
                  <a:pt x="7448740" y="0"/>
                </a:moveTo>
                <a:lnTo>
                  <a:pt x="0" y="0"/>
                </a:lnTo>
                <a:lnTo>
                  <a:pt x="0" y="114249"/>
                </a:lnTo>
                <a:lnTo>
                  <a:pt x="7448740" y="114249"/>
                </a:lnTo>
                <a:lnTo>
                  <a:pt x="7448740" y="0"/>
                </a:lnTo>
                <a:close/>
              </a:path>
              <a:path w="10058400" h="114300">
                <a:moveTo>
                  <a:pt x="10058273" y="0"/>
                </a:moveTo>
                <a:lnTo>
                  <a:pt x="9593948" y="0"/>
                </a:lnTo>
                <a:lnTo>
                  <a:pt x="9593948" y="114249"/>
                </a:lnTo>
                <a:lnTo>
                  <a:pt x="10058273" y="114249"/>
                </a:lnTo>
                <a:lnTo>
                  <a:pt x="10058273" y="0"/>
                </a:lnTo>
                <a:close/>
              </a:path>
            </a:pathLst>
          </a:custGeom>
          <a:solidFill>
            <a:srgbClr val="F78F1E"/>
          </a:solid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rgbClr val="646567"/>
                </a:solidFill>
                <a:latin typeface="Arial"/>
                <a:cs typeface="Arial"/>
              </a:defRPr>
            </a:lvl1pPr>
          </a:lstStyle>
          <a:p>
            <a:pPr marL="11206">
              <a:spcBef>
                <a:spcPts val="40"/>
              </a:spcBef>
            </a:pPr>
            <a:r>
              <a:rPr lang="en-US">
                <a:solidFill>
                  <a:srgbClr val="231F20"/>
                </a:solidFill>
              </a:rPr>
              <a:t>Phone:</a:t>
            </a:r>
            <a:r>
              <a:rPr lang="en-US" spc="313">
                <a:solidFill>
                  <a:srgbClr val="231F20"/>
                </a:solidFill>
              </a:rPr>
              <a:t> </a:t>
            </a:r>
            <a:r>
              <a:rPr lang="en-US" spc="-9"/>
              <a:t>800.351.9962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6585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48E11-D685-F944-B676-A48099EDA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7E4F12-186B-C44C-A30A-7902620BF5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2C7698-8318-9B4B-9B82-08A45AF397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F060A1-2233-D244-ACAB-4770E7097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C056E8-DA51-AD44-B6FB-CF857A003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FA5AFE-6851-C745-BF7F-967BE9017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6127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35CBA-C45A-4A80-9BFD-7E515D740A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6D224D-0EC0-47D8-9351-F2AB775826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18807E-B933-48FE-AB56-8BD7DD2A2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88165-E348-4848-8F83-0D5505396A1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3D1DC9-E9B8-401B-97E1-F1D18A638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D30F6D-E365-4383-AC78-5B26B41E0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74666F-0F8E-4310-991D-9EF3BD217D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8070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656A6DF-A10D-326D-E6BD-06EE8366E1F3}"/>
              </a:ext>
            </a:extLst>
          </p:cNvPr>
          <p:cNvSpPr/>
          <p:nvPr userDrawn="1"/>
        </p:nvSpPr>
        <p:spPr>
          <a:xfrm>
            <a:off x="5605313" y="0"/>
            <a:ext cx="6586687" cy="6858000"/>
          </a:xfrm>
          <a:custGeom>
            <a:avLst/>
            <a:gdLst>
              <a:gd name="connsiteX0" fmla="*/ 3344303 w 6586687"/>
              <a:gd name="connsiteY0" fmla="*/ 0 h 6858000"/>
              <a:gd name="connsiteX1" fmla="*/ 6586687 w 6586687"/>
              <a:gd name="connsiteY1" fmla="*/ 0 h 6858000"/>
              <a:gd name="connsiteX2" fmla="*/ 6586687 w 6586687"/>
              <a:gd name="connsiteY2" fmla="*/ 2702758 h 6858000"/>
              <a:gd name="connsiteX3" fmla="*/ 4560384 w 6586687"/>
              <a:gd name="connsiteY3" fmla="*/ 6858000 h 6858000"/>
              <a:gd name="connsiteX4" fmla="*/ 0 w 658668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6687" h="6858000">
                <a:moveTo>
                  <a:pt x="3344303" y="0"/>
                </a:moveTo>
                <a:lnTo>
                  <a:pt x="6586687" y="0"/>
                </a:lnTo>
                <a:lnTo>
                  <a:pt x="6586687" y="2702758"/>
                </a:lnTo>
                <a:lnTo>
                  <a:pt x="456038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F3989B-4507-AA5A-FE3D-A23242504434}"/>
              </a:ext>
            </a:extLst>
          </p:cNvPr>
          <p:cNvSpPr txBox="1"/>
          <p:nvPr userDrawn="1"/>
        </p:nvSpPr>
        <p:spPr>
          <a:xfrm>
            <a:off x="495300" y="6208782"/>
            <a:ext cx="175295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>
                <a:solidFill>
                  <a:schemeClr val="bg1"/>
                </a:solidFill>
              </a:rPr>
              <a:t>Levata </a:t>
            </a:r>
            <a:r>
              <a:rPr lang="en-GB" sz="1100" b="0" i="0">
                <a:solidFill>
                  <a:schemeClr val="bg1"/>
                </a:solidFill>
                <a:effectLst/>
                <a:latin typeface="+mn-lt"/>
              </a:rPr>
              <a:t>©</a:t>
            </a:r>
            <a:r>
              <a:rPr lang="en-GB" sz="1100" b="0" i="0">
                <a:solidFill>
                  <a:schemeClr val="bg1"/>
                </a:solidFill>
                <a:effectLst/>
                <a:latin typeface="Google Sans"/>
              </a:rPr>
              <a:t> </a:t>
            </a:r>
            <a:r>
              <a:rPr lang="en-US" sz="1100">
                <a:solidFill>
                  <a:schemeClr val="bg1"/>
                </a:solidFill>
              </a:rPr>
              <a:t>2023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DA5531-B54A-BADD-9A63-1E0BC53B5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335847"/>
            <a:ext cx="6253843" cy="170636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6600" spc="147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83690"/>
              </a:lnSpc>
            </a:pPr>
            <a:r>
              <a:rPr lang="en-US"/>
              <a:t>Click to edit Master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79ED28F-99A1-3FC6-9155-CFDD06E356B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222328"/>
            <a:ext cx="6253843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1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951527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5D3F8-9468-03E1-2E2F-F4CF7E1C5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088550"/>
            <a:ext cx="3911600" cy="67001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48A7E1B-E46D-B27F-978C-5A63B04C9B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A034C8C-29C2-7439-190F-5D812BEEE20F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856921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E7A6C4A8-630D-B996-5506-D517299761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6500" y="2089150"/>
            <a:ext cx="4335463" cy="3587750"/>
          </a:xfrm>
        </p:spPr>
        <p:txBody>
          <a:bodyPr vert="horz" lIns="0" tIns="45720" rIns="0" bIns="45720" rtlCol="0">
            <a:noAutofit/>
          </a:bodyPr>
          <a:lstStyle>
            <a:lvl1pPr algn="r">
              <a:defRPr lang="en-US" sz="2400" smtClean="0">
                <a:solidFill>
                  <a:schemeClr val="accent1"/>
                </a:solidFill>
                <a:latin typeface="+mj-lt"/>
              </a:defRPr>
            </a:lvl1pPr>
            <a:lvl2pPr>
              <a:defRPr lang="en-US" smtClean="0">
                <a:solidFill>
                  <a:schemeClr val="accent1"/>
                </a:solidFill>
                <a:latin typeface="+mj-lt"/>
              </a:defRPr>
            </a:lvl2pPr>
            <a:lvl3pPr>
              <a:defRPr lang="en-US" smtClean="0">
                <a:solidFill>
                  <a:schemeClr val="accent1"/>
                </a:solidFill>
                <a:latin typeface="+mj-lt"/>
              </a:defRPr>
            </a:lvl3pPr>
            <a:lvl4pPr>
              <a:defRPr lang="en-US" smtClean="0">
                <a:solidFill>
                  <a:schemeClr val="accent1"/>
                </a:solidFill>
                <a:latin typeface="+mj-lt"/>
              </a:defRPr>
            </a:lvl4pPr>
            <a:lvl5pPr>
              <a:defRPr lang="en-US">
                <a:solidFill>
                  <a:schemeClr val="accent1"/>
                </a:solidFill>
                <a:latin typeface="+mj-lt"/>
              </a:defRPr>
            </a:lvl5pPr>
          </a:lstStyle>
          <a:p>
            <a:pPr lvl="0" algn="r"/>
            <a:r>
              <a:rPr lang="en-US"/>
              <a:t>Click to edit Master text styles</a:t>
            </a:r>
          </a:p>
        </p:txBody>
      </p:sp>
      <p:sp>
        <p:nvSpPr>
          <p:cNvPr id="25" name="Picture Placeholder 23">
            <a:extLst>
              <a:ext uri="{FF2B5EF4-FFF2-40B4-BE49-F238E27FC236}">
                <a16:creationId xmlns:a16="http://schemas.microsoft.com/office/drawing/2014/main" id="{3131A4DF-6743-BE5B-FED0-05673A3A95B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688803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3CDC6-B32E-BDD9-D4D7-D554899FE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885291"/>
            <a:ext cx="9029700" cy="4745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09DF7E4-EDF9-84AC-7805-78E47794DAC2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531836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ubtitle 2">
            <a:extLst>
              <a:ext uri="{FF2B5EF4-FFF2-40B4-BE49-F238E27FC236}">
                <a16:creationId xmlns:a16="http://schemas.microsoft.com/office/drawing/2014/main" id="{B4C15661-9D1A-562D-CA8C-85D6216723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7" name="Picture Placeholder 23">
            <a:extLst>
              <a:ext uri="{FF2B5EF4-FFF2-40B4-BE49-F238E27FC236}">
                <a16:creationId xmlns:a16="http://schemas.microsoft.com/office/drawing/2014/main" id="{1096B8C5-A087-627B-7C66-FBC0227F4BF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219422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Text + Black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0D8516-ED4F-A865-8AA1-669A14553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890370"/>
            <a:ext cx="9245600" cy="2810641"/>
          </a:xfrm>
        </p:spPr>
        <p:txBody>
          <a:bodyPr>
            <a:spAutoFit/>
          </a:bodyPr>
          <a:lstStyle>
            <a:lvl1pPr>
              <a:lnSpc>
                <a:spcPct val="91786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78970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text + gradient bg">
    <p:bg>
      <p:bgPr>
        <a:gradFill flip="none" rotWithShape="1">
          <a:gsLst>
            <a:gs pos="0">
              <a:schemeClr val="accent2"/>
            </a:gs>
            <a:gs pos="52000">
              <a:srgbClr val="7776EB"/>
            </a:gs>
            <a:gs pos="80000">
              <a:schemeClr val="accent3"/>
            </a:gs>
          </a:gsLst>
          <a:lin ang="66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DA11C-E823-E358-DE41-74951E132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2780" y="2549347"/>
            <a:ext cx="7466440" cy="670011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FD1D2E4B-23F1-42DE-FD7F-9099068BE9D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1A75CC7-47B5-10E4-8E56-FDDB0C61E6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bg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</p:spTree>
    <p:extLst>
      <p:ext uri="{BB962C8B-B14F-4D97-AF65-F5344CB8AC3E}">
        <p14:creationId xmlns:p14="http://schemas.microsoft.com/office/powerpoint/2010/main" val="6366466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3D2FB-E502-BAED-12A5-5C04B762B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548" y="1986300"/>
            <a:ext cx="4342167" cy="6700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9873A5-7E2D-22FD-A6EA-FB191F6CF4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4AB218F-54A5-7ADC-137C-5A63F99F0D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3910013"/>
            <a:ext cx="4342167" cy="1852611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B44540A-F3A1-1E1C-3931-1E32BF583B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104899"/>
            <a:ext cx="5872163" cy="46577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C219204-A71A-0100-9F5C-629C458884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0994" y="290178"/>
            <a:ext cx="1128690" cy="262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3668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left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B44540A-F3A1-1E1C-3931-1E32BF583B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872163" cy="6857999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73D2FB-E502-BAED-12A5-5C04B762B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9548" y="1419226"/>
            <a:ext cx="4342167" cy="67001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9873A5-7E2D-22FD-A6EA-FB191F6CF4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4AB218F-54A5-7ADC-137C-5A63F99F0D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3510111"/>
            <a:ext cx="4342167" cy="2576364"/>
          </a:xfrm>
        </p:spPr>
        <p:txBody>
          <a:bodyPr tIns="0" bIns="0"/>
          <a:lstStyle>
            <a:lvl1pPr marL="182880" indent="-182880">
              <a:buSzPct val="100000"/>
              <a:buFont typeface="Wingdings 2" panose="05020102010507070707" pitchFamily="18" charset="2"/>
              <a:buChar char=""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278D663-51B9-E940-59AB-1C31426C17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9548" y="2754959"/>
            <a:ext cx="4342167" cy="445294"/>
          </a:xfrm>
        </p:spPr>
        <p:txBody>
          <a:bodyPr tIns="0" bIns="0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1736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849585"/>
            <a:ext cx="4508500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E6F8E2-1129-57EC-226F-FC7BFB9655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7500" y="4053526"/>
            <a:ext cx="9034272" cy="1909124"/>
          </a:xfrm>
        </p:spPr>
        <p:txBody>
          <a:bodyPr numCol="2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885A986-7DF8-C241-7DBE-25AF135495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A468DABD-630C-4F52-533D-71BFD7C926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271188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heading + 2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04291"/>
            <a:ext cx="4508500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885A986-7DF8-C241-7DBE-25AF135495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9EB3387-E687-6816-E8E2-00C64BFD7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0" y="2514426"/>
            <a:ext cx="4261757" cy="445294"/>
          </a:xfrm>
        </p:spPr>
        <p:txBody>
          <a:bodyPr tIns="0" bIns="0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B4B5BE6-63D5-FA77-C80A-E7371828F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42745" y="2514426"/>
            <a:ext cx="4261757" cy="445294"/>
          </a:xfrm>
        </p:spPr>
        <p:txBody>
          <a:bodyPr vert="horz" lIns="0" tIns="0" rIns="0" bIns="0" rtlCol="0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117CA269-2D33-BDD4-62CD-7DEBA619F4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F1EB097-4E31-44B0-0FDD-E2C0BC05E7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3260725"/>
            <a:ext cx="4260850" cy="2701925"/>
          </a:xfrm>
        </p:spPr>
        <p:txBody>
          <a:bodyPr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01A9B55-0EE5-5657-C893-515B9CE686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2" y="3260725"/>
            <a:ext cx="4260850" cy="2701925"/>
          </a:xfrm>
        </p:spPr>
        <p:txBody>
          <a:bodyPr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110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7AD9A-EF91-9249-B331-916F0A214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352215-B7E5-D14F-BCDB-ABCF0559EF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5E9E92-EF89-CA41-BF00-E87C3975A4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01C4B2-D57D-9042-AC4A-3A8D90BA45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23C617-7E71-5C43-9F93-6629298BAB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BEFE5A-CC09-284B-91C9-30ED51B9AF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7D7F7F-EC07-5E4C-B144-980F6DBBE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77A03F-433F-7047-9BC0-80E7DD501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27111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53A64-DBFA-987D-5026-3B047B2C5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44270"/>
            <a:ext cx="3913632" cy="670011"/>
          </a:xfrm>
        </p:spPr>
        <p:txBody>
          <a:bodyPr/>
          <a:lstStyle>
            <a:lvl1pPr>
              <a:defRPr sz="2000">
                <a:gradFill>
                  <a:gsLst>
                    <a:gs pos="0">
                      <a:schemeClr val="accent2"/>
                    </a:gs>
                    <a:gs pos="52000">
                      <a:srgbClr val="7776EB"/>
                    </a:gs>
                    <a:gs pos="80000">
                      <a:schemeClr val="accent3"/>
                    </a:gs>
                  </a:gsLst>
                  <a:lin ang="66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0B86064-9187-50C6-9AB9-3C1BAD46E516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183821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1049D83-C235-C8E7-FF00-75E2B178E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344271"/>
            <a:ext cx="4342167" cy="441835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C681F9C-CF63-B81B-73E3-E6624FEEAB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5E356D57-8EEB-E25C-2184-E95DBCA554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9199743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row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1E14F91-86C4-B16D-B740-9D8629A70E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4" name="Picture Placeholder 23">
            <a:extLst>
              <a:ext uri="{FF2B5EF4-FFF2-40B4-BE49-F238E27FC236}">
                <a16:creationId xmlns:a16="http://schemas.microsoft.com/office/drawing/2014/main" id="{45A65F6B-1E7D-0BC9-E62A-F636C8FF848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46C96A2-90CD-FF3A-8F72-19867133FE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555786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971177D-90AE-F14D-772B-209770D790BF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400637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360A2CC-CA3E-8D58-8007-014417D411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87501" y="1555786"/>
            <a:ext cx="3220170" cy="673986"/>
          </a:xfrm>
          <a:noFill/>
        </p:spPr>
        <p:txBody>
          <a:bodyPr wrap="square" lIns="0" rIns="0" rtlCol="0">
            <a:noAutofit/>
          </a:bodyPr>
          <a:lstStyle>
            <a:lvl1pPr>
              <a:defRPr lang="en-US" sz="1800" b="0" dirty="0" smtClean="0">
                <a:solidFill>
                  <a:schemeClr val="accent3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7E060BA-82B3-A3C1-0EA8-D38B1BB9F2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19548" y="3153106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826850F-7FCE-D834-9B67-D6B572A0EAAF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997957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0D8BAAB-DD5B-C185-AE78-62C1F7B02A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7501" y="3153106"/>
            <a:ext cx="3220170" cy="673986"/>
          </a:xfrm>
          <a:noFill/>
        </p:spPr>
        <p:txBody>
          <a:bodyPr wrap="square" lIns="0" rIns="0" rtlCol="0">
            <a:noAutofit/>
          </a:bodyPr>
          <a:lstStyle>
            <a:lvl1pPr>
              <a:defRPr lang="en-US" sz="1800" b="0" dirty="0" smtClean="0">
                <a:solidFill>
                  <a:schemeClr val="accent3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68CCC4EE-044F-B430-533A-AE5E88334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9548" y="4955437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BEA3543-C4EF-27C3-240C-5FC234C1289D}"/>
              </a:ext>
            </a:extLst>
          </p:cNvPr>
          <p:cNvCxnSpPr>
            <a:cxnSpLocks/>
          </p:cNvCxnSpPr>
          <p:nvPr userDrawn="1"/>
        </p:nvCxnSpPr>
        <p:spPr>
          <a:xfrm>
            <a:off x="1587500" y="4800288"/>
            <a:ext cx="903427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29AF47F2-D854-9D4C-D196-356666AFB1F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87501" y="4955437"/>
            <a:ext cx="3220170" cy="673986"/>
          </a:xfrm>
          <a:noFill/>
        </p:spPr>
        <p:txBody>
          <a:bodyPr wrap="square" lIns="0" rIns="0" rtlCol="0">
            <a:noAutofit/>
          </a:bodyPr>
          <a:lstStyle>
            <a:lvl1pPr>
              <a:defRPr lang="en-US" sz="1800" b="0" dirty="0" smtClean="0">
                <a:solidFill>
                  <a:schemeClr val="accent3"/>
                </a:solidFill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32423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+ heading + 3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04291"/>
            <a:ext cx="9017002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885A986-7DF8-C241-7DBE-25AF135495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9EB3387-E687-6816-E8E2-00C64BFD7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3077028"/>
            <a:ext cx="2766780" cy="351971"/>
          </a:xfrm>
        </p:spPr>
        <p:txBody>
          <a:bodyPr tIns="0" bIns="0" anchor="ctr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B4B5BE6-63D5-FA77-C80A-E7371828F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2613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117CA269-2D33-BDD4-62CD-7DEBA619F4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F1EB097-4E31-44B0-0FDD-E2C0BC05E7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3628571"/>
            <a:ext cx="2766780" cy="2334079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F01A9B55-0EE5-5657-C893-515B9CE686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12612" y="3628571"/>
            <a:ext cx="2766780" cy="2334079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16">
            <a:extLst>
              <a:ext uri="{FF2B5EF4-FFF2-40B4-BE49-F238E27FC236}">
                <a16:creationId xmlns:a16="http://schemas.microsoft.com/office/drawing/2014/main" id="{D3B58A3E-1494-2278-4E4E-B7BF6B01C41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37722" y="3628571"/>
            <a:ext cx="2766780" cy="2334079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8BD2E84D-2BFC-54D8-7B31-9C4DFA467E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37722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4263896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+ heading + 3 column bulle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0340E-A3F0-A8EE-4F69-BDA5ECD82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04291"/>
            <a:ext cx="9017002" cy="67001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885A986-7DF8-C241-7DBE-25AF135495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9EB3387-E687-6816-E8E2-00C64BFD71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3077028"/>
            <a:ext cx="2766780" cy="351971"/>
          </a:xfrm>
        </p:spPr>
        <p:txBody>
          <a:bodyPr tIns="0" bIns="0" anchor="ctr"/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B4B5BE6-63D5-FA77-C80A-E7371828FA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12613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Picture Placeholder 23">
            <a:extLst>
              <a:ext uri="{FF2B5EF4-FFF2-40B4-BE49-F238E27FC236}">
                <a16:creationId xmlns:a16="http://schemas.microsoft.com/office/drawing/2014/main" id="{117CA269-2D33-BDD4-62CD-7DEBA619F4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8BD2E84D-2BFC-54D8-7B31-9C4DFA467E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37722" y="3077028"/>
            <a:ext cx="2766780" cy="35197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US" sz="2000" dirty="0" smtClean="0"/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799365-D32E-7660-658E-6B2E84F4E28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587500" y="3629025"/>
            <a:ext cx="2767013" cy="2333625"/>
          </a:xfrm>
        </p:spPr>
        <p:txBody>
          <a:bodyPr tIns="0"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3296131-1155-1891-C3C1-325B8504636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12380" y="3629025"/>
            <a:ext cx="2767013" cy="2333625"/>
          </a:xfrm>
        </p:spPr>
        <p:txBody>
          <a:bodyPr tIns="0"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0681D55-5AD8-66B6-A8C3-B9D50851EB6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837489" y="3629025"/>
            <a:ext cx="2767013" cy="2333625"/>
          </a:xfrm>
        </p:spPr>
        <p:txBody>
          <a:bodyPr tIns="0"/>
          <a:lstStyle>
            <a:lvl1pPr marL="182880" indent="-182880">
              <a:lnSpc>
                <a:spcPct val="100000"/>
              </a:lnSpc>
              <a:buFont typeface="Wingdings 2" panose="05020102010507070707" pitchFamily="18" charset="2"/>
              <a:buChar char=""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8780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C8657-A5A2-C73D-9F87-B9BD6B14A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163420"/>
            <a:ext cx="3527425" cy="670011"/>
          </a:xfrm>
        </p:spPr>
        <p:txBody>
          <a:bodyPr tIns="0" bIns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01AA8097-8F8F-6DC2-33B5-FA8366F3C4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5350D5A8-35F8-8CC5-71C1-DF79F5F1A9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BF5581B9-421C-B982-2612-791D0A035B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3893821"/>
            <a:ext cx="3527425" cy="1021080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6B7DC6-D951-BDCC-5007-33E1324A39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1857374"/>
            <a:ext cx="4260850" cy="3139477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205417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ntent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C8657-A5A2-C73D-9F87-B9BD6B14A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163420"/>
            <a:ext cx="3527425" cy="670011"/>
          </a:xfrm>
        </p:spPr>
        <p:txBody>
          <a:bodyPr tIns="0" bIns="0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01AA8097-8F8F-6DC2-33B5-FA8366F3C4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5350D5A8-35F8-8CC5-71C1-DF79F5F1A9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BF5581B9-421C-B982-2612-791D0A035B7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0" y="3893821"/>
            <a:ext cx="3527425" cy="1021080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6B7DC6-D951-BDCC-5007-33E1324A396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1857374"/>
            <a:ext cx="4260850" cy="3139477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40079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810C-9F6E-8437-E34D-3BFAEA982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A41E162-D64F-8C50-4BBA-D00DD8BB59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E301865-A53E-8848-1D47-B34054FA31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A46DAD3-7584-FCD7-91E7-6B5720402D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075AA1C0-33C4-9187-C884-408B5E2CFA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8920926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ox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810C-9F6E-8437-E34D-3BFAEA982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A41E162-D64F-8C50-4BBA-D00DD8BB59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E301865-A53E-8848-1D47-B34054FA31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A46DAD3-7584-FCD7-91E7-6B5720402D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075AA1C0-33C4-9187-C884-408B5E2CFA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5590792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4450D64-6E4B-D1E2-1D6A-DF298227A6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7F6359FE-9F7B-762E-CC22-55E702216B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523BEEF-6D96-D7A6-4331-FA6EC934FF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498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F4864A5-E0B5-68CC-D4FD-73CD382A5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121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978062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ox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4450D64-6E4B-D1E2-1D6A-DF298227A6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7F6359FE-9F7B-762E-CC22-55E702216B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523BEEF-6D96-D7A6-4331-FA6EC934FF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498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F4864A5-E0B5-68CC-D4FD-73CD382A5E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12100" y="2388284"/>
            <a:ext cx="2705100" cy="3479116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3558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BB901-96FD-4E4E-BD16-BC80E8296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8067F4-F189-D042-9D0F-080A048B0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16CD3D-9A3C-9D42-9E70-EC2C53C17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492C0C-98CE-CC4D-9ECA-672EC5311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133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974043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4450D64-6E4B-D1E2-1D6A-DF298227A6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7F6359FE-9F7B-762E-CC22-55E702216B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F18F1A7-4BBA-92FE-9AA5-1816DADBB17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116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FD2A08-27BC-0351-6BE2-94A279A411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57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971489B-1FBD-5889-CF6C-7196A200111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598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325042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ox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974043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4450D64-6E4B-D1E2-1D6A-DF298227A6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7F6359FE-9F7B-762E-CC22-55E702216B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F18F1A7-4BBA-92FE-9AA5-1816DADBB17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116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FD2A08-27BC-0351-6BE2-94A279A411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57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971489B-1FBD-5889-CF6C-7196A200111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59800" y="2094713"/>
            <a:ext cx="2057400" cy="3479116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182880" indent="-182880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Char char=""/>
              <a:defRPr sz="11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809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810C-9F6E-8437-E34D-3BFAEA982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CA41E162-D64F-8C50-4BBA-D00DD8BB59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43650" y="2388284"/>
            <a:ext cx="4260850" cy="2955241"/>
          </a:xfrm>
          <a:prstGeom prst="roundRect">
            <a:avLst>
              <a:gd name="adj" fmla="val 5520"/>
            </a:avLst>
          </a:prstGeom>
          <a:solidFill>
            <a:schemeClr val="bg1"/>
          </a:solidFill>
          <a:ln w="25400">
            <a:gradFill flip="none" rotWithShape="1">
              <a:gsLst>
                <a:gs pos="100000">
                  <a:schemeClr val="accent3"/>
                </a:gs>
                <a:gs pos="0">
                  <a:schemeClr val="accent2"/>
                </a:gs>
              </a:gsLst>
              <a:lin ang="10800000" scaled="1"/>
              <a:tileRect/>
            </a:gradFill>
          </a:ln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tx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E301865-A53E-8848-1D47-B34054FA310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87500" y="2388284"/>
            <a:ext cx="4260850" cy="2955241"/>
          </a:xfrm>
          <a:prstGeom prst="roundRect">
            <a:avLst>
              <a:gd name="adj" fmla="val 5520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274320" rIns="182880" bIns="0"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A46DAD3-7584-FCD7-91E7-6B5720402D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8" name="Picture Placeholder 23">
            <a:extLst>
              <a:ext uri="{FF2B5EF4-FFF2-40B4-BE49-F238E27FC236}">
                <a16:creationId xmlns:a16="http://schemas.microsoft.com/office/drawing/2014/main" id="{075AA1C0-33C4-9187-C884-408B5E2CFAE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grpSp>
        <p:nvGrpSpPr>
          <p:cNvPr id="9" name="Graphic 4" descr="Chevron arrows outline">
            <a:extLst>
              <a:ext uri="{FF2B5EF4-FFF2-40B4-BE49-F238E27FC236}">
                <a16:creationId xmlns:a16="http://schemas.microsoft.com/office/drawing/2014/main" id="{8F27D3BB-34F4-C4FA-2EBB-4EECB9B0E211}"/>
              </a:ext>
            </a:extLst>
          </p:cNvPr>
          <p:cNvGrpSpPr/>
          <p:nvPr/>
        </p:nvGrpSpPr>
        <p:grpSpPr>
          <a:xfrm>
            <a:off x="6005104" y="3714750"/>
            <a:ext cx="194492" cy="302308"/>
            <a:chOff x="5993130" y="3156584"/>
            <a:chExt cx="350520" cy="544829"/>
          </a:xfrm>
          <a:solidFill>
            <a:schemeClr val="bg1">
              <a:lumMod val="65000"/>
            </a:schemeClr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5EB35A9-3EBA-0EC3-E700-6E78B3CB76F7}"/>
                </a:ext>
              </a:extLst>
            </p:cNvPr>
            <p:cNvSpPr/>
            <p:nvPr/>
          </p:nvSpPr>
          <p:spPr>
            <a:xfrm>
              <a:off x="5993130" y="3156584"/>
              <a:ext cx="219551" cy="544829"/>
            </a:xfrm>
            <a:custGeom>
              <a:avLst/>
              <a:gdLst>
                <a:gd name="connsiteX0" fmla="*/ 0 w 219551"/>
                <a:gd name="connsiteY0" fmla="*/ 11430 h 544829"/>
                <a:gd name="connsiteX1" fmla="*/ 195739 w 219551"/>
                <a:gd name="connsiteY1" fmla="*/ 272415 h 544829"/>
                <a:gd name="connsiteX2" fmla="*/ 0 w 219551"/>
                <a:gd name="connsiteY2" fmla="*/ 533400 h 544829"/>
                <a:gd name="connsiteX3" fmla="*/ 15240 w 219551"/>
                <a:gd name="connsiteY3" fmla="*/ 544830 h 544829"/>
                <a:gd name="connsiteX4" fmla="*/ 219551 w 219551"/>
                <a:gd name="connsiteY4" fmla="*/ 272415 h 544829"/>
                <a:gd name="connsiteX5" fmla="*/ 15240 w 219551"/>
                <a:gd name="connsiteY5" fmla="*/ 0 h 544829"/>
                <a:gd name="connsiteX6" fmla="*/ 0 w 219551"/>
                <a:gd name="connsiteY6" fmla="*/ 11430 h 54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51" h="544829">
                  <a:moveTo>
                    <a:pt x="0" y="11430"/>
                  </a:moveTo>
                  <a:lnTo>
                    <a:pt x="195739" y="272415"/>
                  </a:lnTo>
                  <a:lnTo>
                    <a:pt x="0" y="533400"/>
                  </a:lnTo>
                  <a:lnTo>
                    <a:pt x="15240" y="544830"/>
                  </a:lnTo>
                  <a:lnTo>
                    <a:pt x="219551" y="272415"/>
                  </a:lnTo>
                  <a:lnTo>
                    <a:pt x="15240" y="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rnd">
              <a:solidFill>
                <a:schemeClr val="bg1">
                  <a:lumMod val="7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FEB8AED-6CB9-F3B8-95A1-D018CED6C64F}"/>
                </a:ext>
              </a:extLst>
            </p:cNvPr>
            <p:cNvSpPr/>
            <p:nvPr/>
          </p:nvSpPr>
          <p:spPr>
            <a:xfrm>
              <a:off x="6124099" y="3156584"/>
              <a:ext cx="219551" cy="544829"/>
            </a:xfrm>
            <a:custGeom>
              <a:avLst/>
              <a:gdLst>
                <a:gd name="connsiteX0" fmla="*/ 0 w 219551"/>
                <a:gd name="connsiteY0" fmla="*/ 11430 h 544829"/>
                <a:gd name="connsiteX1" fmla="*/ 195739 w 219551"/>
                <a:gd name="connsiteY1" fmla="*/ 272415 h 544829"/>
                <a:gd name="connsiteX2" fmla="*/ 0 w 219551"/>
                <a:gd name="connsiteY2" fmla="*/ 533400 h 544829"/>
                <a:gd name="connsiteX3" fmla="*/ 15240 w 219551"/>
                <a:gd name="connsiteY3" fmla="*/ 544830 h 544829"/>
                <a:gd name="connsiteX4" fmla="*/ 219551 w 219551"/>
                <a:gd name="connsiteY4" fmla="*/ 272415 h 544829"/>
                <a:gd name="connsiteX5" fmla="*/ 15240 w 219551"/>
                <a:gd name="connsiteY5" fmla="*/ 0 h 544829"/>
                <a:gd name="connsiteX6" fmla="*/ 0 w 219551"/>
                <a:gd name="connsiteY6" fmla="*/ 11430 h 54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9551" h="544829">
                  <a:moveTo>
                    <a:pt x="0" y="11430"/>
                  </a:moveTo>
                  <a:lnTo>
                    <a:pt x="195739" y="272415"/>
                  </a:lnTo>
                  <a:lnTo>
                    <a:pt x="0" y="533400"/>
                  </a:lnTo>
                  <a:lnTo>
                    <a:pt x="15240" y="544830"/>
                  </a:lnTo>
                  <a:lnTo>
                    <a:pt x="219551" y="272415"/>
                  </a:lnTo>
                  <a:lnTo>
                    <a:pt x="15240" y="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9525" cap="rnd">
              <a:solidFill>
                <a:schemeClr val="bg1">
                  <a:lumMod val="7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050659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DF542-1F40-72C7-CE38-01D5DB41AD5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B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B2F1CA-D4AE-4F61-EDB2-6232DB27B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40BBB46B-47FE-ADD1-5DFE-A2F16DB0D6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339EA3B-1307-0A69-1A86-BD7B8893EF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2387072"/>
            <a:ext cx="3245756" cy="590931"/>
          </a:xfrm>
          <a:noFill/>
        </p:spPr>
        <p:txBody>
          <a:bodyPr wrap="square" lIns="0" rIns="0" rtlCol="0">
            <a:spAutoFit/>
          </a:bodyPr>
          <a:lstStyle>
            <a:lvl1pPr>
              <a:defRPr lang="en-US" sz="3600" b="0" dirty="0"/>
            </a:lvl1pPr>
          </a:lstStyle>
          <a:p>
            <a:pPr lvl="0">
              <a:spcBef>
                <a:spcPct val="0"/>
              </a:spcBef>
            </a:pPr>
            <a:r>
              <a:rPr lang="en-US"/>
              <a:t>Heading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11A1E122-AE87-9336-759E-3E8333A389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3879998"/>
            <a:ext cx="3245756" cy="2082652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551ADE-0878-A646-4CD0-828F4D3999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87501" y="1904853"/>
            <a:ext cx="3245756" cy="351971"/>
          </a:xfrm>
        </p:spPr>
        <p:txBody>
          <a:bodyPr tIns="0" bIns="0" anchor="ctr"/>
          <a:lstStyle>
            <a:lvl1pPr>
              <a:defRPr sz="20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tep 1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95491FAE-BC17-8F2D-2EEC-9A428D46BE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6016" y="2387072"/>
            <a:ext cx="3245756" cy="590931"/>
          </a:xfrm>
          <a:noFill/>
        </p:spPr>
        <p:txBody>
          <a:bodyPr wrap="square" lIns="0" rIns="0" rtlCol="0">
            <a:spAutoFit/>
          </a:bodyPr>
          <a:lstStyle>
            <a:lvl1pPr>
              <a:defRPr lang="en-US" sz="3600" b="0" dirty="0"/>
            </a:lvl1pPr>
          </a:lstStyle>
          <a:p>
            <a:pPr lvl="0">
              <a:spcBef>
                <a:spcPct val="0"/>
              </a:spcBef>
            </a:pPr>
            <a:r>
              <a:rPr lang="en-US"/>
              <a:t>Heading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6F880CBF-73A6-52F4-F7BF-82AA5D06FE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6016" y="3879998"/>
            <a:ext cx="3245756" cy="2082652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A95C547-E082-9643-78DC-7D01481A0F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376016" y="1904853"/>
            <a:ext cx="3245756" cy="351971"/>
          </a:xfrm>
        </p:spPr>
        <p:txBody>
          <a:bodyPr tIns="0" bIns="0" anchor="ctr"/>
          <a:lstStyle>
            <a:lvl1pPr>
              <a:defRPr sz="20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Step 2</a:t>
            </a:r>
          </a:p>
        </p:txBody>
      </p:sp>
    </p:spTree>
    <p:extLst>
      <p:ext uri="{BB962C8B-B14F-4D97-AF65-F5344CB8AC3E}">
        <p14:creationId xmlns:p14="http://schemas.microsoft.com/office/powerpoint/2010/main" val="41487176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DD36A-E0D8-2177-AEC0-3A1913433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CD0A9C3-6FAA-34DA-0C42-740245E9966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F579A59-7057-0B12-A870-57BCC3743A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497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FC1DF29E-EFB5-EE65-9714-E4F3FE792A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119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A5F224B4-585B-D58B-67C8-928F32B20D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74100" y="2603500"/>
            <a:ext cx="1943100" cy="11557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ED9CAB7-88CC-6D3E-CA2E-11BD3DA101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15" name="Picture Placeholder 23">
            <a:extLst>
              <a:ext uri="{FF2B5EF4-FFF2-40B4-BE49-F238E27FC236}">
                <a16:creationId xmlns:a16="http://schemas.microsoft.com/office/drawing/2014/main" id="{548AA289-A7AA-8543-483C-7F479966F26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C55BAA3-5DA7-A3F6-7DE4-C689EC7130E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B72E0EB8-4164-4965-48EF-C39932CFFD3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97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1CE9F4CF-4896-38CF-D17D-2A4D722ACD8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19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DDB80103-EB3D-7B18-8BEA-51FB4891B8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74100" y="3962400"/>
            <a:ext cx="1943100" cy="1892300"/>
          </a:xfrm>
        </p:spPr>
        <p:txBody>
          <a:bodyPr tIns="0" bIns="0"/>
          <a:lstStyle>
            <a:lvl1pPr>
              <a:lnSpc>
                <a:spcPct val="100000"/>
              </a:lnSpc>
              <a:spcBef>
                <a:spcPts val="1000"/>
              </a:spcBef>
              <a:defRPr sz="120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41235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s in black b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153770"/>
            <a:ext cx="3220170" cy="1060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153770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D81B29-0EE7-0BBF-5C82-BAB5AD2D10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9497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2ADD62B0-7DB2-ACE9-7B58-D145E5FE08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119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59491090-1591-DDB6-B58F-87210B4E2E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74100" y="2638457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97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0D0E282-8119-BA44-4607-C60EA11BD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119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C961C1-2EAD-4AA0-CD8C-12E3A86D86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74100" y="3832223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96CD362E-4C3F-2DC6-CDB5-882F01110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5875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579D04-6B96-3EB7-B3E7-D45A32FF9C1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9497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2B390C4B-03B9-28E6-2E73-1FBBCC00B80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63119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DEE5F053-AF15-0A20-2378-45245421C58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674100" y="4414021"/>
            <a:ext cx="1943100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59A9F710-31D6-3479-4AB7-25A7231F448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5875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DE448AB2-D1C7-14B0-0BDD-85E4A749554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9497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D5402C74-AE1C-A15F-C283-09438D2AFAB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3119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628B38A7-D829-A81B-3EAA-1B48341FA69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74100" y="5607787"/>
            <a:ext cx="1943100" cy="222252"/>
          </a:xfrm>
        </p:spPr>
        <p:txBody>
          <a:bodyPr tIns="0" bIns="0" anchor="ctr"/>
          <a:lstStyle>
            <a:lvl1pPr>
              <a:lnSpc>
                <a:spcPct val="100000"/>
              </a:lnSpc>
              <a:spcBef>
                <a:spcPts val="1000"/>
              </a:spcBef>
              <a:defRPr sz="11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bg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56788989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hotos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153770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153770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D81B29-0EE7-0BBF-5C82-BAB5AD2D10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72707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2ADD62B0-7DB2-ACE9-7B58-D145E5FE08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57914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59491090-1591-DDB6-B58F-87210B4E2E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8328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72707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0D0E282-8119-BA44-4607-C60EA11BD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57914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C961C1-2EAD-4AA0-CD8C-12E3A86D86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128328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96CD362E-4C3F-2DC6-CDB5-882F0111030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587500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579D04-6B96-3EB7-B3E7-D45A32FF9C1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472707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2B390C4B-03B9-28E6-2E73-1FBBCC00B806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357914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DEE5F053-AF15-0A20-2378-45245421C58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128328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5" name="Text Placeholder 16">
            <a:extLst>
              <a:ext uri="{FF2B5EF4-FFF2-40B4-BE49-F238E27FC236}">
                <a16:creationId xmlns:a16="http://schemas.microsoft.com/office/drawing/2014/main" id="{59A9F710-31D6-3479-4AB7-25A7231F448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587500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DE448AB2-D1C7-14B0-0BDD-85E4A749554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707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D5402C74-AE1C-A15F-C283-09438D2AFAB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357914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628B38A7-D829-A81B-3EAA-1B48341FA69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128328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E61A8B43-2894-7337-E3F5-9DA4B739674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43121" y="2638457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4AA5387-CDFF-7441-3277-FA7EDF6A066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243121" y="3832223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A168A3B6-08BB-4DF7-BDE0-54424C11AFB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243121" y="4414021"/>
            <a:ext cx="1533387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D0D167EC-AC55-3704-01E1-68EC13D95E5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243121" y="5607787"/>
            <a:ext cx="153338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5095280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lumn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153770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9548" y="1153770"/>
            <a:ext cx="4342167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498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940237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C3F20C1-B865-8E28-274C-72A20390D235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565358"/>
            <a:ext cx="907421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630A55C-8E8F-64AF-DA5A-A3A2D3B80D3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292976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F04F3126-7255-517D-C7DB-C6464F8D10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8645714" y="2828372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DF88EC9C-0451-FC8C-4FAC-D7648E1835B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87498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95467889-9605-7072-93DE-3968B003179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940237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6D4C0979-9088-3275-0F92-08BCC5C7B64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292976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64874FD5-B9FC-7F5E-D9A6-885EDB60EA8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645714" y="3128572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A4A71F3-2F06-3381-03D9-35BDA755DAD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587498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88E02E27-1C8F-D529-73AE-D5CE0794A34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940237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FFD32031-78E8-B697-7CE4-C21A41088A0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292976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E4500AE-7E43-B24D-41BD-5BF0339E0BD6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645714" y="4531900"/>
            <a:ext cx="2016000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1" name="Text Placeholder 16">
            <a:extLst>
              <a:ext uri="{FF2B5EF4-FFF2-40B4-BE49-F238E27FC236}">
                <a16:creationId xmlns:a16="http://schemas.microsoft.com/office/drawing/2014/main" id="{69AF44F7-2FFF-37D9-8631-8701A7B82C0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587498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D0523D15-DF59-B5D5-DFF0-E52B1587911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940237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3" name="Text Placeholder 16">
            <a:extLst>
              <a:ext uri="{FF2B5EF4-FFF2-40B4-BE49-F238E27FC236}">
                <a16:creationId xmlns:a16="http://schemas.microsoft.com/office/drawing/2014/main" id="{7048E593-189B-0E96-517B-CA5F627EC12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92976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4" name="Text Placeholder 16">
            <a:extLst>
              <a:ext uri="{FF2B5EF4-FFF2-40B4-BE49-F238E27FC236}">
                <a16:creationId xmlns:a16="http://schemas.microsoft.com/office/drawing/2014/main" id="{680D3807-A1A9-85BF-96E5-C31B497B43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645714" y="4832100"/>
            <a:ext cx="2016000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7000606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lumn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752" y="1024563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94738" y="1024563"/>
            <a:ext cx="5777510" cy="1060414"/>
          </a:xfrm>
        </p:spPr>
        <p:txBody>
          <a:bodyPr tIns="72000" bIns="72000"/>
          <a:lstStyle>
            <a:lvl1pPr>
              <a:lnSpc>
                <a:spcPct val="100000"/>
              </a:lnSpc>
              <a:defRPr sz="12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19753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212768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C3F20C1-B865-8E28-274C-72A20390D235}"/>
              </a:ext>
            </a:extLst>
          </p:cNvPr>
          <p:cNvCxnSpPr>
            <a:cxnSpLocks/>
          </p:cNvCxnSpPr>
          <p:nvPr userDrawn="1"/>
        </p:nvCxnSpPr>
        <p:spPr>
          <a:xfrm>
            <a:off x="1219752" y="2545480"/>
            <a:ext cx="9752496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B630A55C-8E8F-64AF-DA5A-A3A2D3B80D3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205783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F04F3126-7255-517D-C7DB-C6464F8D101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7198798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3" name="Text Placeholder 16">
            <a:extLst>
              <a:ext uri="{FF2B5EF4-FFF2-40B4-BE49-F238E27FC236}">
                <a16:creationId xmlns:a16="http://schemas.microsoft.com/office/drawing/2014/main" id="{DF88EC9C-0451-FC8C-4FAC-D7648E1835B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219753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95467889-9605-7072-93DE-3968B003179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212768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6D4C0979-9088-3275-0F92-08BCC5C7B64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205783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64874FD5-B9FC-7F5E-D9A6-885EDB60EA8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98798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7A4A71F3-2F06-3381-03D9-35BDA755DAD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219753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88E02E27-1C8F-D529-73AE-D5CE0794A348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212768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FFD32031-78E8-B697-7CE4-C21A41088A07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205783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4E4500AE-7E43-B24D-41BD-5BF0339E0BD6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98798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1" name="Text Placeholder 16">
            <a:extLst>
              <a:ext uri="{FF2B5EF4-FFF2-40B4-BE49-F238E27FC236}">
                <a16:creationId xmlns:a16="http://schemas.microsoft.com/office/drawing/2014/main" id="{69AF44F7-2FFF-37D9-8631-8701A7B82C0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219753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D0523D15-DF59-B5D5-DFF0-E52B1587911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3212768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3" name="Text Placeholder 16">
            <a:extLst>
              <a:ext uri="{FF2B5EF4-FFF2-40B4-BE49-F238E27FC236}">
                <a16:creationId xmlns:a16="http://schemas.microsoft.com/office/drawing/2014/main" id="{7048E593-189B-0E96-517B-CA5F627EC12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205783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4" name="Text Placeholder 16">
            <a:extLst>
              <a:ext uri="{FF2B5EF4-FFF2-40B4-BE49-F238E27FC236}">
                <a16:creationId xmlns:a16="http://schemas.microsoft.com/office/drawing/2014/main" id="{680D3807-A1A9-85BF-96E5-C31B497B432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198798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93F040FD-4B23-1ECF-2408-774920E7C0A0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191813" y="2828372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4990C59E-2AEA-C901-0E46-185FAD8A9F4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91813" y="3128572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1AA06B83-5A50-914B-081B-1BC2880D89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9191813" y="4531900"/>
            <a:ext cx="1780434" cy="161583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27B71FB1-390B-E61C-A0BF-504DA710412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191813" y="4832100"/>
            <a:ext cx="1780434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9087616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photo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32062"/>
            <a:ext cx="3220170" cy="10604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6550" y="1432062"/>
            <a:ext cx="5325166" cy="1060414"/>
          </a:xfrm>
        </p:spPr>
        <p:txBody>
          <a:bodyPr tIns="0" bIns="0"/>
          <a:lstStyle>
            <a:lvl1pPr>
              <a:lnSpc>
                <a:spcPct val="100000"/>
              </a:lnSpc>
              <a:defRPr sz="12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BD81B29-0EE7-0BBF-5C82-BAB5AD2D10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62025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2ADD62B0-7DB2-ACE9-7B58-D145E5FE08F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36550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59491090-1591-DDB6-B58F-87210B4E2E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85601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44F252BC-3553-892E-6E61-47518F18BC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62025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A0D0E282-8119-BA44-4607-C60EA11BD3A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336550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DC961C1-2EAD-4AA0-CD8C-12E3A86D86E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85601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E61A8B43-2894-7337-E3F5-9DA4B739674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7211075" y="3006206"/>
            <a:ext cx="1576115" cy="106041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04AA5387-CDFF-7441-3277-FA7EDF6A066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211075" y="4319240"/>
            <a:ext cx="1576115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B9E848A8-ED20-A01D-8452-DC6C7AA7F96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587499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EF9ECBFB-4B18-93F6-C0C1-AC39AA0C755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462025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D155C5D4-8235-ED2D-D03A-04DF5D2A27C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36550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93131DC4-AB2A-F1AD-9A69-48AB4DB1602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211075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1" name="Text Placeholder 16">
            <a:extLst>
              <a:ext uri="{FF2B5EF4-FFF2-40B4-BE49-F238E27FC236}">
                <a16:creationId xmlns:a16="http://schemas.microsoft.com/office/drawing/2014/main" id="{85556459-76A0-49F0-9C7C-0F15208BEB2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85601" y="4615209"/>
            <a:ext cx="1576115" cy="916654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07429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09256F3-CC8B-36AA-FF50-DA96703ED5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8335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9256F3-CC8B-36AA-FF50-DA96703ED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0BB901-96FD-4E4E-BD16-BC80E8296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95923"/>
            <a:ext cx="10581230" cy="498598"/>
          </a:xfrm>
        </p:spPr>
        <p:txBody>
          <a:bodyPr vert="horz" wrap="square" lIns="0" tIns="0" rIns="0" bIns="0">
            <a:spAutoFit/>
          </a:bodyPr>
          <a:lstStyle>
            <a:lvl1pPr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995437F-3495-E846-52B6-DBC05BADC0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173F5-6432-465E-A768-2F9DE2D8ED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972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se_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499" y="1471818"/>
            <a:ext cx="3600725" cy="1060414"/>
          </a:xfrm>
        </p:spPr>
        <p:txBody>
          <a:bodyPr t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3652" y="1471818"/>
            <a:ext cx="4428063" cy="1060414"/>
          </a:xfrm>
        </p:spPr>
        <p:txBody>
          <a:bodyPr tIns="72000" bIns="0"/>
          <a:lstStyle>
            <a:lvl1pPr>
              <a:lnSpc>
                <a:spcPts val="1800"/>
              </a:lnSpc>
              <a:spcAft>
                <a:spcPts val="0"/>
              </a:spcAft>
              <a:defRPr sz="14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3135413"/>
            <a:ext cx="3600726" cy="24305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33652" y="4822219"/>
            <a:ext cx="895676" cy="190639"/>
          </a:xfrm>
        </p:spPr>
        <p:txBody>
          <a:bodyPr lIns="7200"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gradFill flip="none" rotWithShape="1"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B9E848A8-ED20-A01D-8452-DC6C7AA7F96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7232925" y="4822219"/>
            <a:ext cx="3428789" cy="717570"/>
          </a:xfrm>
        </p:spPr>
        <p:txBody>
          <a:bodyPr tIns="0" bIns="0" anchor="t">
            <a:noAutofit/>
          </a:bodyPr>
          <a:lstStyle>
            <a:lvl1pPr>
              <a:lnSpc>
                <a:spcPts val="1400"/>
              </a:lnSpc>
              <a:spcBef>
                <a:spcPts val="0"/>
              </a:spcBef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8DA8D77B-EC53-E06E-7B19-5D40E9BED94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87500" y="1097482"/>
            <a:ext cx="3600724" cy="184666"/>
          </a:xfrm>
        </p:spPr>
        <p:txBody>
          <a:bodyPr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1C6FD44D-C2F2-1FAB-4D11-853DAB9F022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587500" y="2629278"/>
            <a:ext cx="3600724" cy="215444"/>
          </a:xfrm>
        </p:spPr>
        <p:txBody>
          <a:bodyPr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0" i="0">
                <a:solidFill>
                  <a:schemeClr val="accent3"/>
                </a:solidFill>
                <a:latin typeface="Avenir Medium" panose="02000503020000020003" pitchFamily="2" charset="0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AC0A6F8C-52F6-7D2D-7D3B-1D29754AD90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6233652" y="3248141"/>
            <a:ext cx="895676" cy="190639"/>
          </a:xfrm>
        </p:spPr>
        <p:txBody>
          <a:bodyPr lIns="7200"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gradFill flip="none" rotWithShape="1"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395CE1E1-4A4C-7C2C-A508-91030B19D3C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232925" y="3248141"/>
            <a:ext cx="3428789" cy="1060414"/>
          </a:xfrm>
        </p:spPr>
        <p:txBody>
          <a:bodyPr tIns="0" bIns="0" numCol="2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E7359F8-343E-17C3-AF04-8C6CFC432560}"/>
              </a:ext>
            </a:extLst>
          </p:cNvPr>
          <p:cNvCxnSpPr>
            <a:cxnSpLocks/>
          </p:cNvCxnSpPr>
          <p:nvPr userDrawn="1"/>
        </p:nvCxnSpPr>
        <p:spPr>
          <a:xfrm>
            <a:off x="6233652" y="3018192"/>
            <a:ext cx="4428063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6D0133C-218B-C06F-5F42-53EFECF8C0B0}"/>
              </a:ext>
            </a:extLst>
          </p:cNvPr>
          <p:cNvCxnSpPr>
            <a:cxnSpLocks/>
          </p:cNvCxnSpPr>
          <p:nvPr userDrawn="1"/>
        </p:nvCxnSpPr>
        <p:spPr>
          <a:xfrm>
            <a:off x="6233652" y="4620789"/>
            <a:ext cx="4428063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3771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ase_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2337578"/>
            <a:ext cx="2838586" cy="1060414"/>
          </a:xfrm>
        </p:spPr>
        <p:txBody>
          <a:bodyPr t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40F3E8C1-4BEC-7F9E-4C3C-B6DDAB8C55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42012" y="1471818"/>
            <a:ext cx="5219703" cy="1060414"/>
          </a:xfrm>
        </p:spPr>
        <p:txBody>
          <a:bodyPr tIns="72000" bIns="0"/>
          <a:lstStyle>
            <a:lvl1pPr>
              <a:lnSpc>
                <a:spcPts val="1800"/>
              </a:lnSpc>
              <a:spcAft>
                <a:spcPts val="0"/>
              </a:spcAft>
              <a:defRPr sz="1400" spc="-2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87500" y="3945182"/>
            <a:ext cx="2838586" cy="2027601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408028" y="4689054"/>
            <a:ext cx="895676" cy="190639"/>
          </a:xfrm>
        </p:spPr>
        <p:txBody>
          <a:bodyPr lIns="7200"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gradFill flip="none" rotWithShape="1"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B9E848A8-ED20-A01D-8452-DC6C7AA7F96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496080" y="4689054"/>
            <a:ext cx="4165635" cy="717570"/>
          </a:xfrm>
        </p:spPr>
        <p:txBody>
          <a:bodyPr tIns="0" bIns="0" anchor="t">
            <a:noAutofit/>
          </a:bodyPr>
          <a:lstStyle>
            <a:lvl1pPr>
              <a:lnSpc>
                <a:spcPts val="1400"/>
              </a:lnSpc>
              <a:spcBef>
                <a:spcPts val="0"/>
              </a:spcBef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8DA8D77B-EC53-E06E-7B19-5D40E9BED94D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87500" y="2060522"/>
            <a:ext cx="2838585" cy="184666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1C6FD44D-C2F2-1FAB-4D11-853DAB9F022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587500" y="3436671"/>
            <a:ext cx="2838585" cy="246221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600" b="0">
                <a:solidFill>
                  <a:schemeClr val="accent3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AC0A6F8C-52F6-7D2D-7D3B-1D29754AD90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408028" y="3114976"/>
            <a:ext cx="895676" cy="190639"/>
          </a:xfrm>
        </p:spPr>
        <p:txBody>
          <a:bodyPr lIns="7200"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gradFill flip="none" rotWithShape="1"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0" scaled="1"/>
                  <a:tileRect/>
                </a:gra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5" name="Text Placeholder 16">
            <a:extLst>
              <a:ext uri="{FF2B5EF4-FFF2-40B4-BE49-F238E27FC236}">
                <a16:creationId xmlns:a16="http://schemas.microsoft.com/office/drawing/2014/main" id="{395CE1E1-4A4C-7C2C-A508-91030B19D3C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6496080" y="3114976"/>
            <a:ext cx="4165635" cy="1060414"/>
          </a:xfrm>
        </p:spPr>
        <p:txBody>
          <a:bodyPr tIns="0" bIns="0" numCol="2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1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6769F66-2FA6-49A5-BA4B-62655DCC394C}"/>
              </a:ext>
            </a:extLst>
          </p:cNvPr>
          <p:cNvGrpSpPr/>
          <p:nvPr userDrawn="1"/>
        </p:nvGrpSpPr>
        <p:grpSpPr>
          <a:xfrm>
            <a:off x="5442012" y="2867268"/>
            <a:ext cx="5219703" cy="1602597"/>
            <a:chOff x="6233652" y="2867268"/>
            <a:chExt cx="4428063" cy="1602597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E7359F8-343E-17C3-AF04-8C6CFC4325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233652" y="2867268"/>
              <a:ext cx="4428063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76D0133C-218B-C06F-5F42-53EFECF8C0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233652" y="4469865"/>
              <a:ext cx="4428063" cy="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Picture Placeholder 23">
            <a:extLst>
              <a:ext uri="{FF2B5EF4-FFF2-40B4-BE49-F238E27FC236}">
                <a16:creationId xmlns:a16="http://schemas.microsoft.com/office/drawing/2014/main" id="{21384A53-3A3A-CF79-23A0-C43397CEF73A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601830" y="1121466"/>
            <a:ext cx="2046892" cy="600801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19197900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">
    <p:bg>
      <p:bgPr>
        <a:solidFill>
          <a:srgbClr val="E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30E87434-F23C-EE6B-C085-8F8A6D9320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26B5E43-0FFA-971C-42D6-4D432016748B}"/>
              </a:ext>
            </a:extLst>
          </p:cNvPr>
          <p:cNvSpPr txBox="1">
            <a:spLocks/>
          </p:cNvSpPr>
          <p:nvPr userDrawn="1"/>
        </p:nvSpPr>
        <p:spPr>
          <a:xfrm>
            <a:off x="1876657" y="2354180"/>
            <a:ext cx="256939" cy="123110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0">
                <a:latin typeface="+mn-lt"/>
              </a:rPr>
              <a:t>“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838E76E-2D4C-48CA-432E-05D8F6394A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52877" y="2556951"/>
            <a:ext cx="7184028" cy="1793504"/>
          </a:xfrm>
        </p:spPr>
        <p:txBody>
          <a:bodyPr wrap="square">
            <a:spAutoFit/>
          </a:bodyPr>
          <a:lstStyle>
            <a:lvl1pPr>
              <a:lnSpc>
                <a:spcPts val="4400"/>
              </a:lnSpc>
              <a:defRPr sz="3600">
                <a:latin typeface="+mj-lt"/>
              </a:defRPr>
            </a:lvl1pPr>
          </a:lstStyle>
          <a:p>
            <a:pPr lvl="0"/>
            <a:r>
              <a:rPr lang="en-US"/>
              <a:t>Vitae </a:t>
            </a:r>
            <a:r>
              <a:rPr lang="en-US" err="1"/>
              <a:t>elementum</a:t>
            </a:r>
            <a:r>
              <a:rPr lang="en-US"/>
              <a:t> sed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pharetra </a:t>
            </a:r>
            <a:r>
              <a:rPr lang="en-US" err="1"/>
              <a:t>egestas</a:t>
            </a:r>
            <a:r>
              <a:rPr lang="en-US"/>
              <a:t> mi </a:t>
            </a:r>
            <a:r>
              <a:rPr lang="en-US" err="1"/>
              <a:t>laoreet</a:t>
            </a:r>
            <a:r>
              <a:rPr lang="en-US"/>
              <a:t>.”</a:t>
            </a:r>
            <a:endParaRPr lang="en-PH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27B886B-FE97-2719-CC14-54B21882DE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52877" y="4634519"/>
            <a:ext cx="7184028" cy="261610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100" b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‒Insert name here</a:t>
            </a:r>
            <a:endParaRPr lang="en-PH"/>
          </a:p>
        </p:txBody>
      </p:sp>
      <p:sp>
        <p:nvSpPr>
          <p:cNvPr id="3" name="Picture Placeholder 23">
            <a:extLst>
              <a:ext uri="{FF2B5EF4-FFF2-40B4-BE49-F238E27FC236}">
                <a16:creationId xmlns:a16="http://schemas.microsoft.com/office/drawing/2014/main" id="{38C2AF7C-6CC5-2877-D5E2-20C36F300D6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8D18A8-DD6D-10BA-0047-AC8BA19AAB24}"/>
              </a:ext>
            </a:extLst>
          </p:cNvPr>
          <p:cNvSpPr/>
          <p:nvPr userDrawn="1"/>
        </p:nvSpPr>
        <p:spPr>
          <a:xfrm>
            <a:off x="11408568" y="6397083"/>
            <a:ext cx="457201" cy="183755"/>
          </a:xfrm>
          <a:prstGeom prst="rect">
            <a:avLst/>
          </a:prstGeom>
          <a:noFill/>
          <a:ln w="635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spc="3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‒ </a:t>
            </a:r>
            <a:fld id="{614C2AB7-8B7E-4D21-B69D-DAA330410392}" type="slidenum">
              <a:rPr lang="en-US" sz="1050" spc="30" smtClean="0">
                <a:solidFill>
                  <a:schemeClr val="tx1"/>
                </a:solidFill>
                <a:latin typeface="+mn-lt"/>
              </a:rPr>
              <a:t>‹#›</a:t>
            </a:fld>
            <a:endParaRPr lang="en-US" sz="1050" spc="3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F917D8BE-A6ED-BD1F-764D-E3C3830AD583}"/>
              </a:ext>
            </a:extLst>
          </p:cNvPr>
          <p:cNvSpPr txBox="1">
            <a:spLocks/>
          </p:cNvSpPr>
          <p:nvPr userDrawn="1"/>
        </p:nvSpPr>
        <p:spPr>
          <a:xfrm>
            <a:off x="339498" y="6397520"/>
            <a:ext cx="1984602" cy="1828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9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5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Statement 2023</a:t>
            </a:r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4310256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quote">
    <p:bg>
      <p:bgPr>
        <a:gradFill flip="none" rotWithShape="1">
          <a:gsLst>
            <a:gs pos="21000">
              <a:srgbClr val="7B94FC"/>
            </a:gs>
            <a:gs pos="0">
              <a:schemeClr val="accent1"/>
            </a:gs>
            <a:gs pos="100000">
              <a:schemeClr val="accent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30E87434-F23C-EE6B-C085-8F8A6D9320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bg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26B5E43-0FFA-971C-42D6-4D432016748B}"/>
              </a:ext>
            </a:extLst>
          </p:cNvPr>
          <p:cNvSpPr txBox="1">
            <a:spLocks/>
          </p:cNvSpPr>
          <p:nvPr userDrawn="1"/>
        </p:nvSpPr>
        <p:spPr>
          <a:xfrm>
            <a:off x="1876657" y="1953283"/>
            <a:ext cx="256939" cy="110799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0">
                <a:solidFill>
                  <a:schemeClr val="bg1"/>
                </a:solidFill>
                <a:latin typeface="+mn-lt"/>
              </a:rPr>
              <a:t>“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838E76E-2D4C-48CA-432E-05D8F6394A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52877" y="2210109"/>
            <a:ext cx="7184028" cy="2645668"/>
          </a:xfrm>
        </p:spPr>
        <p:txBody>
          <a:bodyPr wrap="square">
            <a:noAutofit/>
          </a:bodyPr>
          <a:lstStyle>
            <a:lvl1pPr>
              <a:lnSpc>
                <a:spcPts val="27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proin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vel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, at maximus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mauris</a:t>
            </a:r>
            <a:r>
              <a:rPr lang="en-US"/>
              <a:t> vitae ere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. Lorem ipsum dolor sit </a:t>
            </a:r>
            <a:r>
              <a:rPr lang="en-US" err="1"/>
              <a:t>ametm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elproin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, </a:t>
            </a:r>
            <a:r>
              <a:rPr lang="en-US" err="1"/>
              <a:t>metus</a:t>
            </a:r>
            <a:r>
              <a:rPr lang="en-US"/>
              <a:t> vel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sodales</a:t>
            </a:r>
            <a:r>
              <a:rPr lang="en-US"/>
              <a:t>, </a:t>
            </a:r>
            <a:r>
              <a:rPr lang="en-US" err="1"/>
              <a:t>turpis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.”</a:t>
            </a:r>
            <a:endParaRPr lang="en-PH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27B886B-FE97-2719-CC14-54B21882DE5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52877" y="5023401"/>
            <a:ext cx="7184028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200" b="0">
                <a:solidFill>
                  <a:schemeClr val="tx2">
                    <a:lumMod val="10000"/>
                    <a:lumOff val="90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‒Insert name here</a:t>
            </a:r>
            <a:endParaRPr lang="en-PH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3DF5C03-09E7-F9F6-D409-B530144B0AFE}"/>
              </a:ext>
            </a:extLst>
          </p:cNvPr>
          <p:cNvSpPr/>
          <p:nvPr userDrawn="1"/>
        </p:nvSpPr>
        <p:spPr>
          <a:xfrm>
            <a:off x="11408568" y="6397083"/>
            <a:ext cx="457201" cy="183755"/>
          </a:xfrm>
          <a:prstGeom prst="rect">
            <a:avLst/>
          </a:prstGeom>
          <a:noFill/>
          <a:ln w="635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spc="3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‒ </a:t>
            </a:r>
            <a:fld id="{614C2AB7-8B7E-4D21-B69D-DAA330410392}" type="slidenum">
              <a:rPr lang="en-US" sz="1050" spc="30" smtClean="0">
                <a:solidFill>
                  <a:schemeClr val="bg1"/>
                </a:solidFill>
                <a:latin typeface="+mn-lt"/>
              </a:rPr>
              <a:t>‹#›</a:t>
            </a:fld>
            <a:endParaRPr lang="en-US" sz="1050" spc="3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Placeholder 30">
            <a:extLst>
              <a:ext uri="{FF2B5EF4-FFF2-40B4-BE49-F238E27FC236}">
                <a16:creationId xmlns:a16="http://schemas.microsoft.com/office/drawing/2014/main" id="{896BBBF4-A2AC-76D5-4F14-205C9A64876A}"/>
              </a:ext>
            </a:extLst>
          </p:cNvPr>
          <p:cNvSpPr txBox="1">
            <a:spLocks/>
          </p:cNvSpPr>
          <p:nvPr userDrawn="1"/>
        </p:nvSpPr>
        <p:spPr>
          <a:xfrm>
            <a:off x="339498" y="6397520"/>
            <a:ext cx="1984602" cy="1828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9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5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Copyright Statement 2023</a:t>
            </a:r>
            <a:endParaRPr lang="en-US" sz="1350">
              <a:solidFill>
                <a:schemeClr val="bg1"/>
              </a:solidFill>
            </a:endParaRPr>
          </a:p>
        </p:txBody>
      </p:sp>
      <p:sp>
        <p:nvSpPr>
          <p:cNvPr id="7" name="Picture Placeholder 23">
            <a:extLst>
              <a:ext uri="{FF2B5EF4-FFF2-40B4-BE49-F238E27FC236}">
                <a16:creationId xmlns:a16="http://schemas.microsoft.com/office/drawing/2014/main" id="{3798DE69-BE15-B460-6825-8D9FF358996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971948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icon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87500" y="1432062"/>
            <a:ext cx="2595394" cy="1421928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A8670F08-5683-16EA-6B1D-C5EB2E13476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717915" y="1497963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113874BC-50EC-A6C3-92D3-C2F7843034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7943" y="1497962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B9E848A8-ED20-A01D-8452-DC6C7AA7F96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7942" y="1793930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C433ECA2-9C5A-2749-18EF-F364A21E0C6E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717915" y="2698980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61816925-553B-4BB5-3859-EC8D0C89EEBA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7943" y="2698979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7" name="Text Placeholder 16">
            <a:extLst>
              <a:ext uri="{FF2B5EF4-FFF2-40B4-BE49-F238E27FC236}">
                <a16:creationId xmlns:a16="http://schemas.microsoft.com/office/drawing/2014/main" id="{3D2CFBBA-CE07-4BA2-3ADC-472B95EACA7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307942" y="2994947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D5CEAC77-F6A8-729F-F3C6-206B4B584D6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717915" y="3899996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4C9CD903-FB52-F996-7C1E-D2F907AE981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307943" y="3899995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569CFCE0-B24F-D125-F611-B6DCB00EB248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7942" y="4195963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D5D4B253-AE7D-323C-18BA-43E5397D3D54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717915" y="5101012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2BD34E88-7031-0808-1578-43CACC40A0F6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7943" y="5101011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3" name="Text Placeholder 16">
            <a:extLst>
              <a:ext uri="{FF2B5EF4-FFF2-40B4-BE49-F238E27FC236}">
                <a16:creationId xmlns:a16="http://schemas.microsoft.com/office/drawing/2014/main" id="{9B2F67CA-15D8-A682-E987-C5202042E4C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307942" y="5396979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4" name="Picture Placeholder 5">
            <a:extLst>
              <a:ext uri="{FF2B5EF4-FFF2-40B4-BE49-F238E27FC236}">
                <a16:creationId xmlns:a16="http://schemas.microsoft.com/office/drawing/2014/main" id="{554BD892-7293-0B9D-1240-EFD6B295A0A4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7887900" y="1497963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EAA919B9-D8D6-ADCC-7712-65AD240FA38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477928" y="1497962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6" name="Text Placeholder 16">
            <a:extLst>
              <a:ext uri="{FF2B5EF4-FFF2-40B4-BE49-F238E27FC236}">
                <a16:creationId xmlns:a16="http://schemas.microsoft.com/office/drawing/2014/main" id="{3E4D072C-C82C-CC32-9678-20EE2F00A36D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8477927" y="1793930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7" name="Picture Placeholder 5">
            <a:extLst>
              <a:ext uri="{FF2B5EF4-FFF2-40B4-BE49-F238E27FC236}">
                <a16:creationId xmlns:a16="http://schemas.microsoft.com/office/drawing/2014/main" id="{27228FDA-5BF7-A3AF-3FB6-F282CFE5DBB1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7887900" y="2698980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BA225283-501C-B045-56A1-BE809429E563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477928" y="2698979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9" name="Text Placeholder 16">
            <a:extLst>
              <a:ext uri="{FF2B5EF4-FFF2-40B4-BE49-F238E27FC236}">
                <a16:creationId xmlns:a16="http://schemas.microsoft.com/office/drawing/2014/main" id="{C6FC76B0-BBBF-7338-8655-1E50602B04E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477927" y="2994947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0" name="Picture Placeholder 5">
            <a:extLst>
              <a:ext uri="{FF2B5EF4-FFF2-40B4-BE49-F238E27FC236}">
                <a16:creationId xmlns:a16="http://schemas.microsoft.com/office/drawing/2014/main" id="{7AC016B5-BF61-AF31-FDB7-48BDDFAD5E89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7887900" y="3899996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51BFB8E5-DF59-D2AC-E993-C47CA2FAF11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8477928" y="3899995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2" name="Text Placeholder 16">
            <a:extLst>
              <a:ext uri="{FF2B5EF4-FFF2-40B4-BE49-F238E27FC236}">
                <a16:creationId xmlns:a16="http://schemas.microsoft.com/office/drawing/2014/main" id="{1D38652E-E4C4-A12F-EEB6-3C3B927BDC1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8477927" y="4195963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0B66E769-4A7B-703D-1EF4-000B335F9DB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7887900" y="5101012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4" name="Text Placeholder 16">
            <a:extLst>
              <a:ext uri="{FF2B5EF4-FFF2-40B4-BE49-F238E27FC236}">
                <a16:creationId xmlns:a16="http://schemas.microsoft.com/office/drawing/2014/main" id="{5A9BDD57-18ED-6745-7431-7EE11E4B9AF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8477928" y="5101011"/>
            <a:ext cx="2221267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5" name="Text Placeholder 16">
            <a:extLst>
              <a:ext uri="{FF2B5EF4-FFF2-40B4-BE49-F238E27FC236}">
                <a16:creationId xmlns:a16="http://schemas.microsoft.com/office/drawing/2014/main" id="{FAF7AB87-B963-F0D3-5E57-B0F16BFAEDFA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477927" y="5396979"/>
            <a:ext cx="2221267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3336005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icon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32062"/>
            <a:ext cx="5158740" cy="978729"/>
          </a:xfrm>
        </p:spPr>
        <p:txBody>
          <a:bodyPr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44" name="Picture Placeholder 5">
            <a:extLst>
              <a:ext uri="{FF2B5EF4-FFF2-40B4-BE49-F238E27FC236}">
                <a16:creationId xmlns:a16="http://schemas.microsoft.com/office/drawing/2014/main" id="{554BD892-7293-0B9D-1240-EFD6B295A0A4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7247820" y="1497963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EAA919B9-D8D6-ADCC-7712-65AD240FA38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837848" y="1497962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6" name="Text Placeholder 16">
            <a:extLst>
              <a:ext uri="{FF2B5EF4-FFF2-40B4-BE49-F238E27FC236}">
                <a16:creationId xmlns:a16="http://schemas.microsoft.com/office/drawing/2014/main" id="{3E4D072C-C82C-CC32-9678-20EE2F00A36D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837847" y="1793930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0B66E769-4A7B-703D-1EF4-000B335F9DB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7247820" y="5304212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4" name="Text Placeholder 16">
            <a:extLst>
              <a:ext uri="{FF2B5EF4-FFF2-40B4-BE49-F238E27FC236}">
                <a16:creationId xmlns:a16="http://schemas.microsoft.com/office/drawing/2014/main" id="{5A9BDD57-18ED-6745-7431-7EE11E4B9AF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837848" y="5304211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5" name="Text Placeholder 16">
            <a:extLst>
              <a:ext uri="{FF2B5EF4-FFF2-40B4-BE49-F238E27FC236}">
                <a16:creationId xmlns:a16="http://schemas.microsoft.com/office/drawing/2014/main" id="{FAF7AB87-B963-F0D3-5E57-B0F16BFAEDFA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837847" y="5600179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2448BB-159F-0662-4D3E-E92DD922949A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7247820" y="2449524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7D9C5FFB-5468-2002-2F05-5E659E8C7F2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837848" y="2449524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7C6E673-344D-70A2-D461-717D987F2DF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37847" y="2745492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BD65A093-CCA3-0628-2FFE-FF32A74586A4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247820" y="3401086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A00B69E-7D09-20F1-2887-D4047B5861D7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837848" y="3401086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8D44AB5-E743-2805-3CED-18DB89E7FC4C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837847" y="3697054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D9A3CECB-F55B-892E-CAF1-55C15458C83B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7247820" y="4352648"/>
            <a:ext cx="466928" cy="719944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0B79C10C-41DC-01D0-67D8-C42CE4AB573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7837848" y="4352648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D3CAF022-0AC9-69FC-9C93-E63307E2E25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7837847" y="4648616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AB481071-E1F2-FEDA-6A95-96C884EFE5CC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587500" y="2600960"/>
            <a:ext cx="5158740" cy="9144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0432637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icon_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6415C4D-F0F6-ACFC-9634-08B26D477D62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1587500" y="2600959"/>
            <a:ext cx="5158740" cy="342319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P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432062"/>
            <a:ext cx="5158740" cy="978729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bg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44" name="Picture Placeholder 5">
            <a:extLst>
              <a:ext uri="{FF2B5EF4-FFF2-40B4-BE49-F238E27FC236}">
                <a16:creationId xmlns:a16="http://schemas.microsoft.com/office/drawing/2014/main" id="{554BD892-7293-0B9D-1240-EFD6B295A0A4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7247820" y="1497963"/>
            <a:ext cx="466928" cy="719944"/>
          </a:xfrm>
          <a:noFill/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45" name="Text Placeholder 16">
            <a:extLst>
              <a:ext uri="{FF2B5EF4-FFF2-40B4-BE49-F238E27FC236}">
                <a16:creationId xmlns:a16="http://schemas.microsoft.com/office/drawing/2014/main" id="{EAA919B9-D8D6-ADCC-7712-65AD240FA388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837848" y="1497962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6" name="Text Placeholder 16">
            <a:extLst>
              <a:ext uri="{FF2B5EF4-FFF2-40B4-BE49-F238E27FC236}">
                <a16:creationId xmlns:a16="http://schemas.microsoft.com/office/drawing/2014/main" id="{3E4D072C-C82C-CC32-9678-20EE2F00A36D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837847" y="1793930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0B66E769-4A7B-703D-1EF4-000B335F9DB5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7247820" y="5304212"/>
            <a:ext cx="466928" cy="719944"/>
          </a:xfrm>
          <a:noFill/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4" name="Text Placeholder 16">
            <a:extLst>
              <a:ext uri="{FF2B5EF4-FFF2-40B4-BE49-F238E27FC236}">
                <a16:creationId xmlns:a16="http://schemas.microsoft.com/office/drawing/2014/main" id="{5A9BDD57-18ED-6745-7431-7EE11E4B9AF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837848" y="5304211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5" name="Text Placeholder 16">
            <a:extLst>
              <a:ext uri="{FF2B5EF4-FFF2-40B4-BE49-F238E27FC236}">
                <a16:creationId xmlns:a16="http://schemas.microsoft.com/office/drawing/2014/main" id="{FAF7AB87-B963-F0D3-5E57-B0F16BFAEDFA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837847" y="5600179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2448BB-159F-0662-4D3E-E92DD922949A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7247820" y="2449524"/>
            <a:ext cx="466928" cy="719944"/>
          </a:xfrm>
          <a:noFill/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7D9C5FFB-5468-2002-2F05-5E659E8C7F2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837848" y="2449524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77C6E673-344D-70A2-D461-717D987F2DF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37847" y="2745492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BD65A093-CCA3-0628-2FFE-FF32A74586A4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247820" y="3401086"/>
            <a:ext cx="466928" cy="719944"/>
          </a:xfrm>
          <a:noFill/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A00B69E-7D09-20F1-2887-D4047B5861D7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837848" y="3401086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8D44AB5-E743-2805-3CED-18DB89E7FC4C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837847" y="3697054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D9A3CECB-F55B-892E-CAF1-55C15458C83B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7247820" y="4352648"/>
            <a:ext cx="466928" cy="719944"/>
          </a:xfrm>
          <a:noFill/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0B79C10C-41DC-01D0-67D8-C42CE4AB573F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7837848" y="4352648"/>
            <a:ext cx="2738713" cy="222252"/>
          </a:xfrm>
        </p:spPr>
        <p:txBody>
          <a:bodyPr tIns="0" bIns="0" anchor="t"/>
          <a:lstStyle>
            <a:lvl1pPr>
              <a:lnSpc>
                <a:spcPct val="100000"/>
              </a:lnSpc>
              <a:spcBef>
                <a:spcPts val="1000"/>
              </a:spcBef>
              <a:defRPr sz="12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D3CAF022-0AC9-69FC-9C93-E63307E2E25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7837847" y="4648616"/>
            <a:ext cx="2738713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r>
              <a:rPr lang="en-US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0386071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DF542-1F40-72C7-CE38-01D5DB41AD5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B2F1CA-D4AE-4F61-EDB2-6232DB27B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40BBB46B-47FE-ADD1-5DFE-A2F16DB0D6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339EA3B-1307-0A69-1A86-BD7B8893EF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0" y="2224512"/>
            <a:ext cx="3492499" cy="1421928"/>
          </a:xfrm>
          <a:noFill/>
        </p:spPr>
        <p:txBody>
          <a:bodyPr wrap="square" lIns="0" rIns="0" rtlCol="0">
            <a:spAutoFit/>
          </a:bodyPr>
          <a:lstStyle>
            <a:lvl1pPr>
              <a:defRPr lang="en-US" sz="3200" b="0" dirty="0"/>
            </a:lvl1pPr>
          </a:lstStyle>
          <a:p>
            <a:pPr lvl="0">
              <a:spcBef>
                <a:spcPct val="0"/>
              </a:spcBef>
            </a:pPr>
            <a:r>
              <a:rPr lang="en-US"/>
              <a:t>Title Goes Here Lorem Ipsum Dolor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11A1E122-AE87-9336-759E-3E8333A389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3879998"/>
            <a:ext cx="3492498" cy="2082652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6F880CBF-73A6-52F4-F7BF-82AA5D06FE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66416" y="2367354"/>
            <a:ext cx="1910224" cy="747897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A95C547-E082-9643-78DC-7D01481A0F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66416" y="1537228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33DC93EB-DC9D-261A-A099-AA568D1330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36905" y="2367354"/>
            <a:ext cx="1910224" cy="747897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D5DF37B-6F12-EDF0-F4C9-690E82B263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36905" y="1537228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96CD3F0C-222B-4F90-6287-BCB8DEB649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766416" y="4632233"/>
            <a:ext cx="1910224" cy="747897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26BCE70-519E-7246-A116-2F5BA378D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66416" y="3802107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999943DB-5F3C-DEB1-353A-844D8B99D5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536905" y="4632233"/>
            <a:ext cx="1910224" cy="747897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36552430-8225-7175-6401-88F2D2B627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536905" y="3802107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</p:spTree>
    <p:extLst>
      <p:ext uri="{BB962C8B-B14F-4D97-AF65-F5344CB8AC3E}">
        <p14:creationId xmlns:p14="http://schemas.microsoft.com/office/powerpoint/2010/main" val="10310631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mber_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C7B2F1CA-D4AE-4F61-EDB2-6232DB27B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40BBB46B-47FE-ADD1-5DFE-A2F16DB0D6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339EA3B-1307-0A69-1A86-BD7B8893EF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1288019"/>
            <a:ext cx="2476500" cy="1380186"/>
          </a:xfrm>
          <a:noFill/>
        </p:spPr>
        <p:txBody>
          <a:bodyPr wrap="square" lIns="72000" rIns="0" rtlCol="0">
            <a:spAutoFit/>
          </a:bodyPr>
          <a:lstStyle>
            <a:lvl1pPr>
              <a:lnSpc>
                <a:spcPts val="3400"/>
              </a:lnSpc>
              <a:defRPr lang="en-US" sz="2800" b="0" dirty="0"/>
            </a:lvl1pPr>
          </a:lstStyle>
          <a:p>
            <a:pPr lvl="0">
              <a:spcBef>
                <a:spcPct val="0"/>
              </a:spcBef>
            </a:pPr>
            <a:r>
              <a:rPr lang="en-US"/>
              <a:t>Title Goes Here Lorem Ipsum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11A1E122-AE87-9336-759E-3E8333A389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2792878"/>
            <a:ext cx="2476500" cy="1009229"/>
          </a:xfrm>
        </p:spPr>
        <p:txBody>
          <a:bodyPr lIns="72000"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6F880CBF-73A6-52F4-F7BF-82AA5D06FE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26681" y="1235429"/>
            <a:ext cx="2977818" cy="747897"/>
          </a:xfrm>
        </p:spPr>
        <p:txBody>
          <a:bodyPr tIns="3600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A95C547-E082-9643-78DC-7D01481A0F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7190" y="1235429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33DC93EB-DC9D-261A-A099-AA568D1330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26681" y="2527478"/>
            <a:ext cx="2977818" cy="747897"/>
          </a:xfrm>
        </p:spPr>
        <p:txBody>
          <a:bodyPr tIns="3600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D5DF37B-6F12-EDF0-F4C9-690E82B263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47190" y="5111576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96CD3F0C-222B-4F90-6287-BCB8DEB649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626681" y="3819527"/>
            <a:ext cx="2977818" cy="747897"/>
          </a:xfrm>
        </p:spPr>
        <p:txBody>
          <a:bodyPr tIns="3600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26BCE70-519E-7246-A116-2F5BA378D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47190" y="3819527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sp>
        <p:nvSpPr>
          <p:cNvPr id="24" name="Text Placeholder 16">
            <a:extLst>
              <a:ext uri="{FF2B5EF4-FFF2-40B4-BE49-F238E27FC236}">
                <a16:creationId xmlns:a16="http://schemas.microsoft.com/office/drawing/2014/main" id="{999943DB-5F3C-DEB1-353A-844D8B99D5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626681" y="5111576"/>
            <a:ext cx="2977818" cy="747897"/>
          </a:xfrm>
        </p:spPr>
        <p:txBody>
          <a:bodyPr tIns="3600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36552430-8225-7175-6401-88F2D2B627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47190" y="2527478"/>
            <a:ext cx="1910224" cy="747897"/>
          </a:xfrm>
        </p:spPr>
        <p:txBody>
          <a:bodyPr wrap="square" tIns="0" bIns="0" anchor="t">
            <a:spAutoFit/>
          </a:bodyPr>
          <a:lstStyle>
            <a:lvl1pPr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000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D035A6-3B7B-AB87-8E11-6B4F09D8091C}"/>
              </a:ext>
            </a:extLst>
          </p:cNvPr>
          <p:cNvCxnSpPr>
            <a:cxnSpLocks/>
          </p:cNvCxnSpPr>
          <p:nvPr userDrawn="1"/>
        </p:nvCxnSpPr>
        <p:spPr>
          <a:xfrm>
            <a:off x="4747190" y="1097952"/>
            <a:ext cx="585730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E6FADAC-B843-D1B4-85EE-B3E3B963033D}"/>
              </a:ext>
            </a:extLst>
          </p:cNvPr>
          <p:cNvCxnSpPr>
            <a:cxnSpLocks/>
          </p:cNvCxnSpPr>
          <p:nvPr userDrawn="1"/>
        </p:nvCxnSpPr>
        <p:spPr>
          <a:xfrm>
            <a:off x="4747190" y="2388073"/>
            <a:ext cx="585730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B115115-CD41-70B6-A312-AAEF1B0801F8}"/>
              </a:ext>
            </a:extLst>
          </p:cNvPr>
          <p:cNvCxnSpPr>
            <a:cxnSpLocks/>
          </p:cNvCxnSpPr>
          <p:nvPr userDrawn="1"/>
        </p:nvCxnSpPr>
        <p:spPr>
          <a:xfrm>
            <a:off x="4747190" y="4968314"/>
            <a:ext cx="585730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BE0D642-CAE3-6B1F-A3DE-C52CC6BA3090}"/>
              </a:ext>
            </a:extLst>
          </p:cNvPr>
          <p:cNvCxnSpPr>
            <a:cxnSpLocks/>
          </p:cNvCxnSpPr>
          <p:nvPr userDrawn="1"/>
        </p:nvCxnSpPr>
        <p:spPr>
          <a:xfrm>
            <a:off x="4747190" y="3678194"/>
            <a:ext cx="585730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3420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DF542-1F40-72C7-CE38-01D5DB41AD52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B2F1CA-D4AE-4F61-EDB2-6232DB27B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40BBB46B-47FE-ADD1-5DFE-A2F16DB0D6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339EA3B-1307-0A69-1A86-BD7B8893EF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0" y="2417552"/>
            <a:ext cx="3648235" cy="978729"/>
          </a:xfrm>
          <a:noFill/>
        </p:spPr>
        <p:txBody>
          <a:bodyPr wrap="square" lIns="0" rIns="0" rtlCol="0">
            <a:spAutoFit/>
          </a:bodyPr>
          <a:lstStyle>
            <a:lvl1pPr>
              <a:defRPr lang="en-US" sz="3200" b="0" dirty="0"/>
            </a:lvl1pPr>
          </a:lstStyle>
          <a:p>
            <a:pPr lvl="0">
              <a:spcBef>
                <a:spcPct val="0"/>
              </a:spcBef>
            </a:pPr>
            <a:r>
              <a:rPr lang="en-US"/>
              <a:t>Title Goes Here Lorem Ipsum Dolor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11A1E122-AE87-9336-759E-3E8333A389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3596788"/>
            <a:ext cx="3648234" cy="2082652"/>
          </a:xfrm>
        </p:spPr>
        <p:txBody>
          <a:bodyPr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D5C4EE56-BB11-2BB0-C2F9-47DA2DCAF79F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6878321" y="1168400"/>
            <a:ext cx="4490720" cy="45110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chart</a:t>
            </a:r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7239450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09256F3-CC8B-36AA-FF50-DA96703ED5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158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9256F3-CC8B-36AA-FF50-DA96703ED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0BB901-96FD-4E4E-BD16-BC80E8296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160720"/>
            <a:ext cx="10581230" cy="498598"/>
          </a:xfrm>
        </p:spPr>
        <p:txBody>
          <a:bodyPr vert="horz" wrap="square" lIns="0" tIns="0" rIns="0" bIns="0" anchor="b">
            <a:spAutoFit/>
          </a:bodyPr>
          <a:lstStyle>
            <a:lvl1pPr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956B405-45D4-E9FC-3729-0D778AE01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173F5-6432-465E-A768-2F9DE2D8ED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24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r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rt Placeholder 8">
            <a:extLst>
              <a:ext uri="{FF2B5EF4-FFF2-40B4-BE49-F238E27FC236}">
                <a16:creationId xmlns:a16="http://schemas.microsoft.com/office/drawing/2014/main" id="{FEE5A0EA-ABEF-6AA3-8360-E0DA977A4E77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4865511" y="1288018"/>
            <a:ext cx="6503530" cy="4391421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insert chart</a:t>
            </a:r>
            <a:endParaRPr lang="en-PH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7B2F1CA-D4AE-4F61-EDB2-6232DB27BB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40BBB46B-47FE-ADD1-5DFE-A2F16DB0D6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1339EA3B-1307-0A69-1A86-BD7B8893EF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87501" y="1288019"/>
            <a:ext cx="2476500" cy="1380186"/>
          </a:xfrm>
          <a:noFill/>
        </p:spPr>
        <p:txBody>
          <a:bodyPr wrap="square" lIns="72000" rIns="0" rtlCol="0">
            <a:spAutoFit/>
          </a:bodyPr>
          <a:lstStyle>
            <a:lvl1pPr>
              <a:lnSpc>
                <a:spcPts val="3400"/>
              </a:lnSpc>
              <a:defRPr lang="en-US" sz="2800" b="0" dirty="0"/>
            </a:lvl1pPr>
          </a:lstStyle>
          <a:p>
            <a:pPr lvl="0">
              <a:spcBef>
                <a:spcPct val="0"/>
              </a:spcBef>
            </a:pPr>
            <a:r>
              <a:rPr lang="en-US"/>
              <a:t>Title Goes Here Lorem Ipsum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11A1E122-AE87-9336-759E-3E8333A389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87501" y="2792878"/>
            <a:ext cx="2476500" cy="1009229"/>
          </a:xfrm>
        </p:spPr>
        <p:txBody>
          <a:bodyPr lIns="72000" tIns="0" bIns="0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86589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 box_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44AA-7774-EAB8-FC13-4B332DF03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04243"/>
            <a:ext cx="9029700" cy="59093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79E522D-6321-C659-6B43-7F851E1548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87500" y="2656197"/>
            <a:ext cx="2057400" cy="2284103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108000" rIns="182880" bIns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01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84450D64-6E4B-D1E2-1D6A-DF298227A6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2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6" name="Picture Placeholder 23">
            <a:extLst>
              <a:ext uri="{FF2B5EF4-FFF2-40B4-BE49-F238E27FC236}">
                <a16:creationId xmlns:a16="http://schemas.microsoft.com/office/drawing/2014/main" id="{7F6359FE-9F7B-762E-CC22-55E702216B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39725" y="338753"/>
            <a:ext cx="960120" cy="146304"/>
          </a:xfrm>
          <a:solidFill>
            <a:schemeClr val="bg1"/>
          </a:solidFill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F18F1A7-4BBA-92FE-9AA5-1816DADBB1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11600" y="2656197"/>
            <a:ext cx="2057400" cy="2284103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108000" rIns="182880" bIns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02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FD2A08-27BC-0351-6BE2-94A279A411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35700" y="2656197"/>
            <a:ext cx="2057400" cy="2284103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108000" rIns="182880" bIns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03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971489B-1FBD-5889-CF6C-7196A20011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59800" y="2656197"/>
            <a:ext cx="2057400" cy="2284103"/>
          </a:xfrm>
          <a:prstGeom prst="roundRect">
            <a:avLst>
              <a:gd name="adj" fmla="val 9644"/>
            </a:avLst>
          </a:prstGeom>
          <a:gradFill>
            <a:gsLst>
              <a:gs pos="0">
                <a:schemeClr val="accent2"/>
              </a:gs>
              <a:gs pos="52000">
                <a:srgbClr val="7776EB"/>
              </a:gs>
              <a:gs pos="80000">
                <a:schemeClr val="accent3"/>
              </a:gs>
            </a:gsLst>
            <a:lin ang="6600000" scaled="0"/>
          </a:gradFill>
        </p:spPr>
        <p:txBody>
          <a:bodyPr lIns="182880" tIns="108000" rIns="182880" bIns="10800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04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D44CEE8-1C30-6EBB-4FCE-6D20C7EFC24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587500" y="2044699"/>
            <a:ext cx="9029700" cy="313932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BB5451-5B65-0502-05E8-5A79784C79A6}"/>
              </a:ext>
            </a:extLst>
          </p:cNvPr>
          <p:cNvCxnSpPr>
            <a:cxnSpLocks/>
          </p:cNvCxnSpPr>
          <p:nvPr userDrawn="1"/>
        </p:nvCxnSpPr>
        <p:spPr>
          <a:xfrm>
            <a:off x="0" y="5330357"/>
            <a:ext cx="9536905" cy="0"/>
          </a:xfrm>
          <a:prstGeom prst="line">
            <a:avLst/>
          </a:prstGeom>
          <a:ln w="317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950B5735-96E5-B10B-169C-3454798597C2}"/>
              </a:ext>
            </a:extLst>
          </p:cNvPr>
          <p:cNvSpPr/>
          <p:nvPr userDrawn="1"/>
        </p:nvSpPr>
        <p:spPr>
          <a:xfrm>
            <a:off x="2532598" y="5246755"/>
            <a:ext cx="167204" cy="167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1634050-6426-F80A-5291-810B5B7ADFD4}"/>
              </a:ext>
            </a:extLst>
          </p:cNvPr>
          <p:cNvSpPr/>
          <p:nvPr userDrawn="1"/>
        </p:nvSpPr>
        <p:spPr>
          <a:xfrm>
            <a:off x="4856698" y="5246755"/>
            <a:ext cx="167204" cy="167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3EB5A26-83C7-3D5B-7D28-D630E74A5A85}"/>
              </a:ext>
            </a:extLst>
          </p:cNvPr>
          <p:cNvSpPr/>
          <p:nvPr userDrawn="1"/>
        </p:nvSpPr>
        <p:spPr>
          <a:xfrm>
            <a:off x="7180798" y="5246755"/>
            <a:ext cx="167204" cy="167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388D74D-E27D-1C47-D891-B9BBB935F1CB}"/>
              </a:ext>
            </a:extLst>
          </p:cNvPr>
          <p:cNvSpPr/>
          <p:nvPr userDrawn="1"/>
        </p:nvSpPr>
        <p:spPr>
          <a:xfrm>
            <a:off x="9504898" y="5246755"/>
            <a:ext cx="167204" cy="16720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8716716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590931"/>
          </a:xfrm>
        </p:spPr>
        <p:txBody>
          <a:bodyPr>
            <a:sp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2448BB-159F-0662-4D3E-E92DD922949A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1587499" y="22347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AB481071-E1F2-FEDA-6A95-96C884EFE5CC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587500" y="1731707"/>
            <a:ext cx="9001478" cy="338554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01406422-EA20-32E0-ADD6-B2174787A7ED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3444522" y="22347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34F7A9A-A2A4-29C1-4AB3-844A31455EB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5301545" y="22347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3CCE3-7EC6-6370-31CC-5CCE1F693628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7158568" y="22347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21FAF82-5F44-EEE9-28DF-1556CC6B58BE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9015589" y="22347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F730D7B1-DCA8-610A-04C2-AD91BB4FE991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1587499" y="56891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2896884-FEF5-E380-038A-6F724DAA20F2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3444522" y="56891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02C1F4A-0AFB-4AB2-8D1C-A922C58DECA6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5301545" y="56891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8F1456DE-5486-090B-F6E0-3325AC6C935A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7158568" y="56891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1E4E08D2-0AD0-48F6-C6CD-7D3BF4849E6D}"/>
              </a:ext>
            </a:extLst>
          </p:cNvPr>
          <p:cNvSpPr>
            <a:spLocks noGrp="1"/>
          </p:cNvSpPr>
          <p:nvPr>
            <p:ph type="pic" sz="quarter" idx="85" hasCustomPrompt="1"/>
          </p:nvPr>
        </p:nvSpPr>
        <p:spPr>
          <a:xfrm>
            <a:off x="9015589" y="56891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3DFA358F-C5B6-F385-E9BB-6F4CDA48C4EE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1587499" y="48255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0295AB4F-917B-23D1-C823-A1078D3ADE0F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3444522" y="48255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8AC0621C-97FE-E48B-41CC-6B3BC7100CA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5301545" y="48255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DF426BBA-FE37-01B1-0559-20E30AE226E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7158568" y="48255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44C06F46-0113-C96C-97BB-DEC277596D57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015589" y="48255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273DA2FB-EBAA-FE7C-6FB8-A77EBDE8F028}"/>
              </a:ext>
            </a:extLst>
          </p:cNvPr>
          <p:cNvSpPr>
            <a:spLocks noGrp="1"/>
          </p:cNvSpPr>
          <p:nvPr>
            <p:ph type="pic" sz="quarter" idx="91" hasCustomPrompt="1"/>
          </p:nvPr>
        </p:nvSpPr>
        <p:spPr>
          <a:xfrm>
            <a:off x="1587499" y="39619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76A9B907-CBD3-A76C-8668-142248CB5E1D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3444522" y="39619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DDB35EFC-954D-764B-A1C9-73C444B65B5D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5301545" y="39619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341818DD-E7AE-F4A2-6ECC-D76658B82DBE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7158568" y="39619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2767CD20-CBE0-589F-7F9F-7FBCF83195D1}"/>
              </a:ext>
            </a:extLst>
          </p:cNvPr>
          <p:cNvSpPr>
            <a:spLocks noGrp="1"/>
          </p:cNvSpPr>
          <p:nvPr>
            <p:ph type="pic" sz="quarter" idx="95" hasCustomPrompt="1"/>
          </p:nvPr>
        </p:nvSpPr>
        <p:spPr>
          <a:xfrm>
            <a:off x="9015589" y="39619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1DE8E248-0067-4DAD-859B-5EF4BA66916E}"/>
              </a:ext>
            </a:extLst>
          </p:cNvPr>
          <p:cNvSpPr>
            <a:spLocks noGrp="1"/>
          </p:cNvSpPr>
          <p:nvPr>
            <p:ph type="pic" sz="quarter" idx="96" hasCustomPrompt="1"/>
          </p:nvPr>
        </p:nvSpPr>
        <p:spPr>
          <a:xfrm>
            <a:off x="1587499" y="30983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72C93881-6928-3BE9-C8AA-14EF609A2522}"/>
              </a:ext>
            </a:extLst>
          </p:cNvPr>
          <p:cNvSpPr>
            <a:spLocks noGrp="1"/>
          </p:cNvSpPr>
          <p:nvPr>
            <p:ph type="pic" sz="quarter" idx="97" hasCustomPrompt="1"/>
          </p:nvPr>
        </p:nvSpPr>
        <p:spPr>
          <a:xfrm>
            <a:off x="3444522" y="30983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A593A9CE-26F1-96A8-E829-2BEABC308252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5301545" y="30983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44CE291C-693F-B80E-8F8C-B8ABCB503991}"/>
              </a:ext>
            </a:extLst>
          </p:cNvPr>
          <p:cNvSpPr>
            <a:spLocks noGrp="1"/>
          </p:cNvSpPr>
          <p:nvPr>
            <p:ph type="pic" sz="quarter" idx="99" hasCustomPrompt="1"/>
          </p:nvPr>
        </p:nvSpPr>
        <p:spPr>
          <a:xfrm>
            <a:off x="7158568" y="30983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FACBB1F3-FADA-1030-326C-FFC433236E28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9015589" y="3098383"/>
            <a:ext cx="1573389" cy="70032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FF34072-B70B-CED5-7D60-654F0067C91A}"/>
              </a:ext>
            </a:extLst>
          </p:cNvPr>
          <p:cNvCxnSpPr>
            <a:cxnSpLocks/>
          </p:cNvCxnSpPr>
          <p:nvPr userDrawn="1"/>
        </p:nvCxnSpPr>
        <p:spPr>
          <a:xfrm>
            <a:off x="1587500" y="3016747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84E8915-7561-9B7E-D479-4B4CC000E366}"/>
              </a:ext>
            </a:extLst>
          </p:cNvPr>
          <p:cNvCxnSpPr>
            <a:cxnSpLocks/>
          </p:cNvCxnSpPr>
          <p:nvPr userDrawn="1"/>
        </p:nvCxnSpPr>
        <p:spPr>
          <a:xfrm>
            <a:off x="1587500" y="3880347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93DDCED-6580-6035-FD6B-D70A9165CAA1}"/>
              </a:ext>
            </a:extLst>
          </p:cNvPr>
          <p:cNvCxnSpPr>
            <a:cxnSpLocks/>
          </p:cNvCxnSpPr>
          <p:nvPr userDrawn="1"/>
        </p:nvCxnSpPr>
        <p:spPr>
          <a:xfrm>
            <a:off x="1587500" y="4743946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7A52E8F-8159-E8D0-C70A-9C5E41C8F858}"/>
              </a:ext>
            </a:extLst>
          </p:cNvPr>
          <p:cNvCxnSpPr>
            <a:cxnSpLocks/>
          </p:cNvCxnSpPr>
          <p:nvPr userDrawn="1"/>
        </p:nvCxnSpPr>
        <p:spPr>
          <a:xfrm>
            <a:off x="1587500" y="5607547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21928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mage_slide_w/titl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590931"/>
          </a:xfrm>
        </p:spPr>
        <p:txBody>
          <a:bodyPr>
            <a:sp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2448BB-159F-0662-4D3E-E92DD922949A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4750346" y="1975137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AB481071-E1F2-FEDA-6A95-96C884EFE5CC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587500" y="1993402"/>
            <a:ext cx="2324101" cy="584775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6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01406422-EA20-32E0-ADD6-B2174787A7ED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5962780" y="1975137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34F7A9A-A2A4-29C1-4AB3-844A31455EB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7132373" y="1975137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3CCE3-7EC6-6370-31CC-5CCE1F693628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8334639" y="1975137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21FAF82-5F44-EEE9-28DF-1556CC6B58BE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9536905" y="1975137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F730D7B1-DCA8-610A-04C2-AD91BB4FE991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4750346" y="5474693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2896884-FEF5-E380-038A-6F724DAA20F2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962780" y="5474693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02C1F4A-0AFB-4AB2-8D1C-A922C58DECA6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7132373" y="5474693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8F1456DE-5486-090B-F6E0-3325AC6C935A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8334639" y="5474693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1E4E08D2-0AD0-48F6-C6CD-7D3BF4849E6D}"/>
              </a:ext>
            </a:extLst>
          </p:cNvPr>
          <p:cNvSpPr>
            <a:spLocks noGrp="1"/>
          </p:cNvSpPr>
          <p:nvPr>
            <p:ph type="pic" sz="quarter" idx="85" hasCustomPrompt="1"/>
          </p:nvPr>
        </p:nvSpPr>
        <p:spPr>
          <a:xfrm>
            <a:off x="9536905" y="5474693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3DFA358F-C5B6-F385-E9BB-6F4CDA48C4EE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4750346" y="4599804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0295AB4F-917B-23D1-C823-A1078D3ADE0F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5962780" y="4599804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8AC0621C-97FE-E48B-41CC-6B3BC7100CA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7132373" y="4599804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DF426BBA-FE37-01B1-0559-20E30AE226E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8334639" y="4599804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44C06F46-0113-C96C-97BB-DEC277596D57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536905" y="4599804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273DA2FB-EBAA-FE7C-6FB8-A77EBDE8F028}"/>
              </a:ext>
            </a:extLst>
          </p:cNvPr>
          <p:cNvSpPr>
            <a:spLocks noGrp="1"/>
          </p:cNvSpPr>
          <p:nvPr>
            <p:ph type="pic" sz="quarter" idx="91" hasCustomPrompt="1"/>
          </p:nvPr>
        </p:nvSpPr>
        <p:spPr>
          <a:xfrm>
            <a:off x="4750346" y="3724915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76A9B907-CBD3-A76C-8668-142248CB5E1D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5962780" y="3724915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DDB35EFC-954D-764B-A1C9-73C444B65B5D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7132373" y="3724915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341818DD-E7AE-F4A2-6ECC-D76658B82DBE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8334639" y="3724915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2767CD20-CBE0-589F-7F9F-7FBCF83195D1}"/>
              </a:ext>
            </a:extLst>
          </p:cNvPr>
          <p:cNvSpPr>
            <a:spLocks noGrp="1"/>
          </p:cNvSpPr>
          <p:nvPr>
            <p:ph type="pic" sz="quarter" idx="95" hasCustomPrompt="1"/>
          </p:nvPr>
        </p:nvSpPr>
        <p:spPr>
          <a:xfrm>
            <a:off x="9536905" y="3724915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1DE8E248-0067-4DAD-859B-5EF4BA66916E}"/>
              </a:ext>
            </a:extLst>
          </p:cNvPr>
          <p:cNvSpPr>
            <a:spLocks noGrp="1"/>
          </p:cNvSpPr>
          <p:nvPr>
            <p:ph type="pic" sz="quarter" idx="96" hasCustomPrompt="1"/>
          </p:nvPr>
        </p:nvSpPr>
        <p:spPr>
          <a:xfrm>
            <a:off x="4750346" y="2850026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72C93881-6928-3BE9-C8AA-14EF609A2522}"/>
              </a:ext>
            </a:extLst>
          </p:cNvPr>
          <p:cNvSpPr>
            <a:spLocks noGrp="1"/>
          </p:cNvSpPr>
          <p:nvPr>
            <p:ph type="pic" sz="quarter" idx="97" hasCustomPrompt="1"/>
          </p:nvPr>
        </p:nvSpPr>
        <p:spPr>
          <a:xfrm>
            <a:off x="5962780" y="2850026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A593A9CE-26F1-96A8-E829-2BEABC308252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7132373" y="2850026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44CE291C-693F-B80E-8F8C-B8ABCB503991}"/>
              </a:ext>
            </a:extLst>
          </p:cNvPr>
          <p:cNvSpPr>
            <a:spLocks noGrp="1"/>
          </p:cNvSpPr>
          <p:nvPr>
            <p:ph type="pic" sz="quarter" idx="99" hasCustomPrompt="1"/>
          </p:nvPr>
        </p:nvSpPr>
        <p:spPr>
          <a:xfrm>
            <a:off x="8334639" y="2850026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FACBB1F3-FADA-1030-326C-FFC433236E28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9536905" y="2850026"/>
            <a:ext cx="1052073" cy="62130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FF34072-B70B-CED5-7D60-654F0067C91A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723233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84E8915-7561-9B7E-D479-4B4CC000E366}"/>
              </a:ext>
            </a:extLst>
          </p:cNvPr>
          <p:cNvCxnSpPr>
            <a:cxnSpLocks/>
          </p:cNvCxnSpPr>
          <p:nvPr userDrawn="1"/>
        </p:nvCxnSpPr>
        <p:spPr>
          <a:xfrm>
            <a:off x="1587500" y="3598122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93DDCED-6580-6035-FD6B-D70A9165CAA1}"/>
              </a:ext>
            </a:extLst>
          </p:cNvPr>
          <p:cNvCxnSpPr>
            <a:cxnSpLocks/>
          </p:cNvCxnSpPr>
          <p:nvPr userDrawn="1"/>
        </p:nvCxnSpPr>
        <p:spPr>
          <a:xfrm>
            <a:off x="1587500" y="4473011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7A52E8F-8159-E8D0-C70A-9C5E41C8F858}"/>
              </a:ext>
            </a:extLst>
          </p:cNvPr>
          <p:cNvCxnSpPr>
            <a:cxnSpLocks/>
          </p:cNvCxnSpPr>
          <p:nvPr userDrawn="1"/>
        </p:nvCxnSpPr>
        <p:spPr>
          <a:xfrm>
            <a:off x="1587500" y="5347901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32F47E1-C0E7-045E-18E7-3A0C0AB78070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853993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0">
            <a:extLst>
              <a:ext uri="{FF2B5EF4-FFF2-40B4-BE49-F238E27FC236}">
                <a16:creationId xmlns:a16="http://schemas.microsoft.com/office/drawing/2014/main" id="{A5A8DEA7-5F42-B19E-F1AA-97D6A91B663C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1587500" y="2886555"/>
            <a:ext cx="2324101" cy="584775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6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0">
            <a:extLst>
              <a:ext uri="{FF2B5EF4-FFF2-40B4-BE49-F238E27FC236}">
                <a16:creationId xmlns:a16="http://schemas.microsoft.com/office/drawing/2014/main" id="{AD74B156-E827-E4AD-F0EC-0EDE1BFE4FE1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1587500" y="3761444"/>
            <a:ext cx="2324101" cy="584775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6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30">
            <a:extLst>
              <a:ext uri="{FF2B5EF4-FFF2-40B4-BE49-F238E27FC236}">
                <a16:creationId xmlns:a16="http://schemas.microsoft.com/office/drawing/2014/main" id="{535D8F35-CA5D-B55D-8EC9-7CE7A53865FF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1587500" y="4636333"/>
            <a:ext cx="2324101" cy="584775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6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30">
            <a:extLst>
              <a:ext uri="{FF2B5EF4-FFF2-40B4-BE49-F238E27FC236}">
                <a16:creationId xmlns:a16="http://schemas.microsoft.com/office/drawing/2014/main" id="{A0D0101E-4255-9DFE-1079-70C6C3F3D801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587500" y="5511222"/>
            <a:ext cx="2324101" cy="584775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6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30395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image_slide_w/titl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590931"/>
          </a:xfrm>
        </p:spPr>
        <p:txBody>
          <a:bodyPr>
            <a:sp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2448BB-159F-0662-4D3E-E92DD922949A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4750346" y="1953923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AB481071-E1F2-FEDA-6A95-96C884EFE5CC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587500" y="1981733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01406422-EA20-32E0-ADD6-B2174787A7ED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5962780" y="194387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34F7A9A-A2A4-29C1-4AB3-844A31455EBB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7132373" y="194387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3CCE3-7EC6-6370-31CC-5CCE1F693628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8334639" y="194387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21FAF82-5F44-EEE9-28DF-1556CC6B58BE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9536905" y="194387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F730D7B1-DCA8-610A-04C2-AD91BB4FE991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4750346" y="589672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2896884-FEF5-E380-038A-6F724DAA20F2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5962780" y="589672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F02C1F4A-0AFB-4AB2-8D1C-A922C58DECA6}"/>
              </a:ext>
            </a:extLst>
          </p:cNvPr>
          <p:cNvSpPr>
            <a:spLocks noGrp="1"/>
          </p:cNvSpPr>
          <p:nvPr>
            <p:ph type="pic" sz="quarter" idx="83" hasCustomPrompt="1"/>
          </p:nvPr>
        </p:nvSpPr>
        <p:spPr>
          <a:xfrm>
            <a:off x="7132373" y="589672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8F1456DE-5486-090B-F6E0-3325AC6C935A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8334639" y="589672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1E4E08D2-0AD0-48F6-C6CD-7D3BF4849E6D}"/>
              </a:ext>
            </a:extLst>
          </p:cNvPr>
          <p:cNvSpPr>
            <a:spLocks noGrp="1"/>
          </p:cNvSpPr>
          <p:nvPr>
            <p:ph type="pic" sz="quarter" idx="85" hasCustomPrompt="1"/>
          </p:nvPr>
        </p:nvSpPr>
        <p:spPr>
          <a:xfrm>
            <a:off x="9536905" y="589672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3DFA358F-C5B6-F385-E9BB-6F4CDA48C4EE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4750346" y="4206951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0295AB4F-917B-23D1-C823-A1078D3ADE0F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5962780" y="4202646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8AC0621C-97FE-E48B-41CC-6B3BC7100CA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7132373" y="4202646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5" name="Picture Placeholder 5">
            <a:extLst>
              <a:ext uri="{FF2B5EF4-FFF2-40B4-BE49-F238E27FC236}">
                <a16:creationId xmlns:a16="http://schemas.microsoft.com/office/drawing/2014/main" id="{DF426BBA-FE37-01B1-0559-20E30AE226E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8334639" y="4202646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44C06F46-0113-C96C-97BB-DEC277596D57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9536905" y="4202646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273DA2FB-EBAA-FE7C-6FB8-A77EBDE8F028}"/>
              </a:ext>
            </a:extLst>
          </p:cNvPr>
          <p:cNvSpPr>
            <a:spLocks noGrp="1"/>
          </p:cNvSpPr>
          <p:nvPr>
            <p:ph type="pic" sz="quarter" idx="91" hasCustomPrompt="1"/>
          </p:nvPr>
        </p:nvSpPr>
        <p:spPr>
          <a:xfrm>
            <a:off x="4750346" y="3080437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76A9B907-CBD3-A76C-8668-142248CB5E1D}"/>
              </a:ext>
            </a:extLst>
          </p:cNvPr>
          <p:cNvSpPr>
            <a:spLocks noGrp="1"/>
          </p:cNvSpPr>
          <p:nvPr>
            <p:ph type="pic" sz="quarter" idx="92" hasCustomPrompt="1"/>
          </p:nvPr>
        </p:nvSpPr>
        <p:spPr>
          <a:xfrm>
            <a:off x="5962780" y="3073262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DDB35EFC-954D-764B-A1C9-73C444B65B5D}"/>
              </a:ext>
            </a:extLst>
          </p:cNvPr>
          <p:cNvSpPr>
            <a:spLocks noGrp="1"/>
          </p:cNvSpPr>
          <p:nvPr>
            <p:ph type="pic" sz="quarter" idx="93" hasCustomPrompt="1"/>
          </p:nvPr>
        </p:nvSpPr>
        <p:spPr>
          <a:xfrm>
            <a:off x="7132373" y="3073262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341818DD-E7AE-F4A2-6ECC-D76658B82DBE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8334639" y="3073262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2767CD20-CBE0-589F-7F9F-7FBCF83195D1}"/>
              </a:ext>
            </a:extLst>
          </p:cNvPr>
          <p:cNvSpPr>
            <a:spLocks noGrp="1"/>
          </p:cNvSpPr>
          <p:nvPr>
            <p:ph type="pic" sz="quarter" idx="95" hasCustomPrompt="1"/>
          </p:nvPr>
        </p:nvSpPr>
        <p:spPr>
          <a:xfrm>
            <a:off x="9536905" y="3073262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1DE8E248-0067-4DAD-859B-5EF4BA66916E}"/>
              </a:ext>
            </a:extLst>
          </p:cNvPr>
          <p:cNvSpPr>
            <a:spLocks noGrp="1"/>
          </p:cNvSpPr>
          <p:nvPr>
            <p:ph type="pic" sz="quarter" idx="96" hasCustomPrompt="1"/>
          </p:nvPr>
        </p:nvSpPr>
        <p:spPr>
          <a:xfrm>
            <a:off x="4750346" y="251718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72C93881-6928-3BE9-C8AA-14EF609A2522}"/>
              </a:ext>
            </a:extLst>
          </p:cNvPr>
          <p:cNvSpPr>
            <a:spLocks noGrp="1"/>
          </p:cNvSpPr>
          <p:nvPr>
            <p:ph type="pic" sz="quarter" idx="97" hasCustomPrompt="1"/>
          </p:nvPr>
        </p:nvSpPr>
        <p:spPr>
          <a:xfrm>
            <a:off x="5962780" y="250857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A593A9CE-26F1-96A8-E829-2BEABC308252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7132373" y="250857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44CE291C-693F-B80E-8F8C-B8ABCB503991}"/>
              </a:ext>
            </a:extLst>
          </p:cNvPr>
          <p:cNvSpPr>
            <a:spLocks noGrp="1"/>
          </p:cNvSpPr>
          <p:nvPr>
            <p:ph type="pic" sz="quarter" idx="99" hasCustomPrompt="1"/>
          </p:nvPr>
        </p:nvSpPr>
        <p:spPr>
          <a:xfrm>
            <a:off x="8334639" y="250857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FACBB1F3-FADA-1030-326C-FFC433236E28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9536905" y="250857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FF34072-B70B-CED5-7D60-654F0067C91A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417250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84E8915-7561-9B7E-D479-4B4CC000E366}"/>
              </a:ext>
            </a:extLst>
          </p:cNvPr>
          <p:cNvCxnSpPr>
            <a:cxnSpLocks/>
          </p:cNvCxnSpPr>
          <p:nvPr userDrawn="1"/>
        </p:nvCxnSpPr>
        <p:spPr>
          <a:xfrm>
            <a:off x="1587500" y="3543764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93DDCED-6580-6035-FD6B-D70A9165CAA1}"/>
              </a:ext>
            </a:extLst>
          </p:cNvPr>
          <p:cNvCxnSpPr>
            <a:cxnSpLocks/>
          </p:cNvCxnSpPr>
          <p:nvPr userDrawn="1"/>
        </p:nvCxnSpPr>
        <p:spPr>
          <a:xfrm>
            <a:off x="1587500" y="4107021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7A52E8F-8159-E8D0-C70A-9C5E41C8F858}"/>
              </a:ext>
            </a:extLst>
          </p:cNvPr>
          <p:cNvCxnSpPr>
            <a:cxnSpLocks/>
          </p:cNvCxnSpPr>
          <p:nvPr userDrawn="1"/>
        </p:nvCxnSpPr>
        <p:spPr>
          <a:xfrm>
            <a:off x="1587500" y="5233535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32F47E1-C0E7-045E-18E7-3A0C0AB78070}"/>
              </a:ext>
            </a:extLst>
          </p:cNvPr>
          <p:cNvCxnSpPr>
            <a:cxnSpLocks/>
          </p:cNvCxnSpPr>
          <p:nvPr userDrawn="1"/>
        </p:nvCxnSpPr>
        <p:spPr>
          <a:xfrm>
            <a:off x="1587500" y="1853993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30">
            <a:extLst>
              <a:ext uri="{FF2B5EF4-FFF2-40B4-BE49-F238E27FC236}">
                <a16:creationId xmlns:a16="http://schemas.microsoft.com/office/drawing/2014/main" id="{A5A8DEA7-5F42-B19E-F1AA-97D6A91B663C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1587500" y="2544990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0">
            <a:extLst>
              <a:ext uri="{FF2B5EF4-FFF2-40B4-BE49-F238E27FC236}">
                <a16:creationId xmlns:a16="http://schemas.microsoft.com/office/drawing/2014/main" id="{AD74B156-E827-E4AD-F0EC-0EDE1BFE4FE1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1587500" y="3671504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30">
            <a:extLst>
              <a:ext uri="{FF2B5EF4-FFF2-40B4-BE49-F238E27FC236}">
                <a16:creationId xmlns:a16="http://schemas.microsoft.com/office/drawing/2014/main" id="{535D8F35-CA5D-B55D-8EC9-7CE7A53865FF}"/>
              </a:ext>
            </a:extLst>
          </p:cNvPr>
          <p:cNvSpPr>
            <a:spLocks noGrp="1"/>
          </p:cNvSpPr>
          <p:nvPr>
            <p:ph type="body" sz="quarter" idx="103"/>
          </p:nvPr>
        </p:nvSpPr>
        <p:spPr>
          <a:xfrm>
            <a:off x="1587500" y="4234761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30">
            <a:extLst>
              <a:ext uri="{FF2B5EF4-FFF2-40B4-BE49-F238E27FC236}">
                <a16:creationId xmlns:a16="http://schemas.microsoft.com/office/drawing/2014/main" id="{A0D0101E-4255-9DFE-1079-70C6C3F3D801}"/>
              </a:ext>
            </a:extLst>
          </p:cNvPr>
          <p:cNvSpPr>
            <a:spLocks noGrp="1"/>
          </p:cNvSpPr>
          <p:nvPr>
            <p:ph type="body" sz="quarter" idx="104"/>
          </p:nvPr>
        </p:nvSpPr>
        <p:spPr>
          <a:xfrm>
            <a:off x="1587500" y="5361275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EEC01A8F-DD48-3522-9EEB-FABCB8265383}"/>
              </a:ext>
            </a:extLst>
          </p:cNvPr>
          <p:cNvSpPr>
            <a:spLocks noGrp="1"/>
          </p:cNvSpPr>
          <p:nvPr>
            <p:ph type="pic" sz="quarter" idx="105" hasCustomPrompt="1"/>
          </p:nvPr>
        </p:nvSpPr>
        <p:spPr>
          <a:xfrm>
            <a:off x="4750346" y="5333465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3E65A048-8D09-7CF3-FC97-3A871DCBEB5E}"/>
              </a:ext>
            </a:extLst>
          </p:cNvPr>
          <p:cNvSpPr>
            <a:spLocks noGrp="1"/>
          </p:cNvSpPr>
          <p:nvPr>
            <p:ph type="pic" sz="quarter" idx="106" hasCustomPrompt="1"/>
          </p:nvPr>
        </p:nvSpPr>
        <p:spPr>
          <a:xfrm>
            <a:off x="5962780" y="533203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49C90B4C-38FD-8589-B829-E5D0D1452130}"/>
              </a:ext>
            </a:extLst>
          </p:cNvPr>
          <p:cNvSpPr>
            <a:spLocks noGrp="1"/>
          </p:cNvSpPr>
          <p:nvPr>
            <p:ph type="pic" sz="quarter" idx="107" hasCustomPrompt="1"/>
          </p:nvPr>
        </p:nvSpPr>
        <p:spPr>
          <a:xfrm>
            <a:off x="7132373" y="533203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BAFE0AAE-229F-B108-531A-4529F97969E4}"/>
              </a:ext>
            </a:extLst>
          </p:cNvPr>
          <p:cNvSpPr>
            <a:spLocks noGrp="1"/>
          </p:cNvSpPr>
          <p:nvPr>
            <p:ph type="pic" sz="quarter" idx="108" hasCustomPrompt="1"/>
          </p:nvPr>
        </p:nvSpPr>
        <p:spPr>
          <a:xfrm>
            <a:off x="8334639" y="533203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E553FC46-9AA8-E516-9AE3-0C5786307750}"/>
              </a:ext>
            </a:extLst>
          </p:cNvPr>
          <p:cNvSpPr>
            <a:spLocks noGrp="1"/>
          </p:cNvSpPr>
          <p:nvPr>
            <p:ph type="pic" sz="quarter" idx="109" hasCustomPrompt="1"/>
          </p:nvPr>
        </p:nvSpPr>
        <p:spPr>
          <a:xfrm>
            <a:off x="9536905" y="5332030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44" name="Picture Placeholder 5">
            <a:extLst>
              <a:ext uri="{FF2B5EF4-FFF2-40B4-BE49-F238E27FC236}">
                <a16:creationId xmlns:a16="http://schemas.microsoft.com/office/drawing/2014/main" id="{CF86E09C-4F24-829F-2D3D-9F8A548A6A2B}"/>
              </a:ext>
            </a:extLst>
          </p:cNvPr>
          <p:cNvSpPr>
            <a:spLocks noGrp="1"/>
          </p:cNvSpPr>
          <p:nvPr>
            <p:ph type="pic" sz="quarter" idx="110" hasCustomPrompt="1"/>
          </p:nvPr>
        </p:nvSpPr>
        <p:spPr>
          <a:xfrm>
            <a:off x="4750346" y="477020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45" name="Picture Placeholder 5">
            <a:extLst>
              <a:ext uri="{FF2B5EF4-FFF2-40B4-BE49-F238E27FC236}">
                <a16:creationId xmlns:a16="http://schemas.microsoft.com/office/drawing/2014/main" id="{8FA9C35C-1387-C9FF-6FA7-0E118C0F90DD}"/>
              </a:ext>
            </a:extLst>
          </p:cNvPr>
          <p:cNvSpPr>
            <a:spLocks noGrp="1"/>
          </p:cNvSpPr>
          <p:nvPr>
            <p:ph type="pic" sz="quarter" idx="111" hasCustomPrompt="1"/>
          </p:nvPr>
        </p:nvSpPr>
        <p:spPr>
          <a:xfrm>
            <a:off x="5962780" y="476733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0" name="Picture Placeholder 5">
            <a:extLst>
              <a:ext uri="{FF2B5EF4-FFF2-40B4-BE49-F238E27FC236}">
                <a16:creationId xmlns:a16="http://schemas.microsoft.com/office/drawing/2014/main" id="{5DDA7F6D-F52E-48F7-CF80-7D08236515D5}"/>
              </a:ext>
            </a:extLst>
          </p:cNvPr>
          <p:cNvSpPr>
            <a:spLocks noGrp="1"/>
          </p:cNvSpPr>
          <p:nvPr>
            <p:ph type="pic" sz="quarter" idx="112" hasCustomPrompt="1"/>
          </p:nvPr>
        </p:nvSpPr>
        <p:spPr>
          <a:xfrm>
            <a:off x="7132373" y="476733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4813C489-E227-8FE4-7FBF-481F3ACE2F2D}"/>
              </a:ext>
            </a:extLst>
          </p:cNvPr>
          <p:cNvSpPr>
            <a:spLocks noGrp="1"/>
          </p:cNvSpPr>
          <p:nvPr>
            <p:ph type="pic" sz="quarter" idx="113" hasCustomPrompt="1"/>
          </p:nvPr>
        </p:nvSpPr>
        <p:spPr>
          <a:xfrm>
            <a:off x="8334639" y="476733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2" name="Picture Placeholder 5">
            <a:extLst>
              <a:ext uri="{FF2B5EF4-FFF2-40B4-BE49-F238E27FC236}">
                <a16:creationId xmlns:a16="http://schemas.microsoft.com/office/drawing/2014/main" id="{249B6C4B-3BE4-CCDB-259E-9BD7631D4767}"/>
              </a:ext>
            </a:extLst>
          </p:cNvPr>
          <p:cNvSpPr>
            <a:spLocks noGrp="1"/>
          </p:cNvSpPr>
          <p:nvPr>
            <p:ph type="pic" sz="quarter" idx="114" hasCustomPrompt="1"/>
          </p:nvPr>
        </p:nvSpPr>
        <p:spPr>
          <a:xfrm>
            <a:off x="9536905" y="4767338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37E19118-03CA-9F98-CFA4-688CB92652FA}"/>
              </a:ext>
            </a:extLst>
          </p:cNvPr>
          <p:cNvSpPr>
            <a:spLocks noGrp="1"/>
          </p:cNvSpPr>
          <p:nvPr>
            <p:ph type="pic" sz="quarter" idx="115" hasCustomPrompt="1"/>
          </p:nvPr>
        </p:nvSpPr>
        <p:spPr>
          <a:xfrm>
            <a:off x="4750346" y="364369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4" name="Picture Placeholder 5">
            <a:extLst>
              <a:ext uri="{FF2B5EF4-FFF2-40B4-BE49-F238E27FC236}">
                <a16:creationId xmlns:a16="http://schemas.microsoft.com/office/drawing/2014/main" id="{8635B14E-24E6-09D9-0DD1-BB05D621FE1F}"/>
              </a:ext>
            </a:extLst>
          </p:cNvPr>
          <p:cNvSpPr>
            <a:spLocks noGrp="1"/>
          </p:cNvSpPr>
          <p:nvPr>
            <p:ph type="pic" sz="quarter" idx="116" hasCustomPrompt="1"/>
          </p:nvPr>
        </p:nvSpPr>
        <p:spPr>
          <a:xfrm>
            <a:off x="5962780" y="363795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5" name="Picture Placeholder 5">
            <a:extLst>
              <a:ext uri="{FF2B5EF4-FFF2-40B4-BE49-F238E27FC236}">
                <a16:creationId xmlns:a16="http://schemas.microsoft.com/office/drawing/2014/main" id="{760C584E-2EFB-4284-B4C1-DAC86157B8F6}"/>
              </a:ext>
            </a:extLst>
          </p:cNvPr>
          <p:cNvSpPr>
            <a:spLocks noGrp="1"/>
          </p:cNvSpPr>
          <p:nvPr>
            <p:ph type="pic" sz="quarter" idx="117" hasCustomPrompt="1"/>
          </p:nvPr>
        </p:nvSpPr>
        <p:spPr>
          <a:xfrm>
            <a:off x="7132373" y="363795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6" name="Picture Placeholder 5">
            <a:extLst>
              <a:ext uri="{FF2B5EF4-FFF2-40B4-BE49-F238E27FC236}">
                <a16:creationId xmlns:a16="http://schemas.microsoft.com/office/drawing/2014/main" id="{9117E832-BD06-17EC-9DF9-15A99B5F0A6B}"/>
              </a:ext>
            </a:extLst>
          </p:cNvPr>
          <p:cNvSpPr>
            <a:spLocks noGrp="1"/>
          </p:cNvSpPr>
          <p:nvPr>
            <p:ph type="pic" sz="quarter" idx="118" hasCustomPrompt="1"/>
          </p:nvPr>
        </p:nvSpPr>
        <p:spPr>
          <a:xfrm>
            <a:off x="8334639" y="363795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sp>
        <p:nvSpPr>
          <p:cNvPr id="57" name="Picture Placeholder 5">
            <a:extLst>
              <a:ext uri="{FF2B5EF4-FFF2-40B4-BE49-F238E27FC236}">
                <a16:creationId xmlns:a16="http://schemas.microsoft.com/office/drawing/2014/main" id="{4F62ABF9-D518-7A7C-12BC-B5BA2BBFEF2D}"/>
              </a:ext>
            </a:extLst>
          </p:cNvPr>
          <p:cNvSpPr>
            <a:spLocks noGrp="1"/>
          </p:cNvSpPr>
          <p:nvPr>
            <p:ph type="pic" sz="quarter" idx="119" hasCustomPrompt="1"/>
          </p:nvPr>
        </p:nvSpPr>
        <p:spPr>
          <a:xfrm>
            <a:off x="9536905" y="3637954"/>
            <a:ext cx="1052073" cy="3633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r>
              <a:rPr lang="en-US"/>
              <a:t>Insert photo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8471C89-18C8-5B8C-5391-8B1001BC7B24}"/>
              </a:ext>
            </a:extLst>
          </p:cNvPr>
          <p:cNvCxnSpPr>
            <a:cxnSpLocks/>
          </p:cNvCxnSpPr>
          <p:nvPr userDrawn="1"/>
        </p:nvCxnSpPr>
        <p:spPr>
          <a:xfrm>
            <a:off x="1587500" y="2980507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E5DA497-5369-1787-0DEC-4DEDC02464FA}"/>
              </a:ext>
            </a:extLst>
          </p:cNvPr>
          <p:cNvCxnSpPr>
            <a:cxnSpLocks/>
          </p:cNvCxnSpPr>
          <p:nvPr userDrawn="1"/>
        </p:nvCxnSpPr>
        <p:spPr>
          <a:xfrm>
            <a:off x="1587500" y="4670278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E783C0F-3415-F0B7-E349-89FD75D60975}"/>
              </a:ext>
            </a:extLst>
          </p:cNvPr>
          <p:cNvCxnSpPr>
            <a:cxnSpLocks/>
          </p:cNvCxnSpPr>
          <p:nvPr userDrawn="1"/>
        </p:nvCxnSpPr>
        <p:spPr>
          <a:xfrm>
            <a:off x="1587500" y="5796792"/>
            <a:ext cx="9017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Placeholder 30">
            <a:extLst>
              <a:ext uri="{FF2B5EF4-FFF2-40B4-BE49-F238E27FC236}">
                <a16:creationId xmlns:a16="http://schemas.microsoft.com/office/drawing/2014/main" id="{F0DEC262-0688-36D5-9297-CC3BBB4D69BB}"/>
              </a:ext>
            </a:extLst>
          </p:cNvPr>
          <p:cNvSpPr>
            <a:spLocks noGrp="1"/>
          </p:cNvSpPr>
          <p:nvPr>
            <p:ph type="body" sz="quarter" idx="120"/>
          </p:nvPr>
        </p:nvSpPr>
        <p:spPr>
          <a:xfrm>
            <a:off x="1587500" y="3108247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Text Placeholder 30">
            <a:extLst>
              <a:ext uri="{FF2B5EF4-FFF2-40B4-BE49-F238E27FC236}">
                <a16:creationId xmlns:a16="http://schemas.microsoft.com/office/drawing/2014/main" id="{6958B2C3-0FCB-C7DB-E698-A49609F6D5C8}"/>
              </a:ext>
            </a:extLst>
          </p:cNvPr>
          <p:cNvSpPr>
            <a:spLocks noGrp="1"/>
          </p:cNvSpPr>
          <p:nvPr>
            <p:ph type="body" sz="quarter" idx="121"/>
          </p:nvPr>
        </p:nvSpPr>
        <p:spPr>
          <a:xfrm>
            <a:off x="1587500" y="4798018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30">
            <a:extLst>
              <a:ext uri="{FF2B5EF4-FFF2-40B4-BE49-F238E27FC236}">
                <a16:creationId xmlns:a16="http://schemas.microsoft.com/office/drawing/2014/main" id="{2C7F1A5E-EC73-6D32-49E0-7D7DABA3B3CE}"/>
              </a:ext>
            </a:extLst>
          </p:cNvPr>
          <p:cNvSpPr>
            <a:spLocks noGrp="1"/>
          </p:cNvSpPr>
          <p:nvPr>
            <p:ph type="body" sz="quarter" idx="122"/>
          </p:nvPr>
        </p:nvSpPr>
        <p:spPr>
          <a:xfrm>
            <a:off x="1587500" y="5924534"/>
            <a:ext cx="2882900" cy="30777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00">
                <a:gradFill>
                  <a:gsLst>
                    <a:gs pos="21000">
                      <a:srgbClr val="7B94FC"/>
                    </a:gs>
                    <a:gs pos="0">
                      <a:schemeClr val="accent1"/>
                    </a:gs>
                    <a:gs pos="100000">
                      <a:schemeClr val="accent3"/>
                    </a:gs>
                  </a:gsLst>
                  <a:lin ang="8100000" scaled="1"/>
                </a:gradFill>
                <a:latin typeface="+mj-lt"/>
              </a:defRPr>
            </a:lvl1pPr>
            <a:lvl2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35705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melin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6B6D3B0-CF4C-09EC-63DA-7CD72C7BC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78" y="4018290"/>
            <a:ext cx="11147328" cy="0"/>
          </a:xfrm>
          <a:prstGeom prst="line">
            <a:avLst/>
          </a:prstGeom>
          <a:ln w="34925">
            <a:solidFill>
              <a:schemeClr val="bg1">
                <a:lumMod val="85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480131"/>
          </a:xfrm>
        </p:spPr>
        <p:txBody>
          <a:bodyPr>
            <a:sp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D3901BD-98BA-0D27-9F95-9F8D6BC0EF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5264" y="3597865"/>
            <a:ext cx="841548" cy="840850"/>
          </a:xfrm>
          <a:prstGeom prst="ellipse">
            <a:avLst/>
          </a:prstGeom>
          <a:solidFill>
            <a:srgbClr val="928FF8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0710D025-CE63-19F3-A7E4-BBD94D76B85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8711" y="3597865"/>
            <a:ext cx="841548" cy="840850"/>
          </a:xfrm>
          <a:prstGeom prst="ellipse">
            <a:avLst/>
          </a:prstGeom>
          <a:solidFill>
            <a:srgbClr val="9FA5FB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3D418EF7-1543-EF24-5F74-67DB17756D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732158" y="3597865"/>
            <a:ext cx="841548" cy="840850"/>
          </a:xfrm>
          <a:prstGeom prst="ellipse">
            <a:avLst/>
          </a:prstGeom>
          <a:solidFill>
            <a:srgbClr val="AAB9FE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BA715068-4C2F-A9EC-9F48-BEE1CB50AE6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45605" y="3597865"/>
            <a:ext cx="841548" cy="840850"/>
          </a:xfrm>
          <a:prstGeom prst="ellipse">
            <a:avLst/>
          </a:prstGeom>
          <a:solidFill>
            <a:srgbClr val="ADC7FD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E0397BE2-FA17-8F91-E8D3-B6E1456AD6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59052" y="3597865"/>
            <a:ext cx="841548" cy="840850"/>
          </a:xfrm>
          <a:prstGeom prst="ellipse">
            <a:avLst/>
          </a:prstGeom>
          <a:solidFill>
            <a:srgbClr val="A5C6FC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2AEA5F5C-2EAE-85A4-09F4-23555110D10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72499" y="3597865"/>
            <a:ext cx="841548" cy="840850"/>
          </a:xfrm>
          <a:prstGeom prst="ellipse">
            <a:avLst/>
          </a:prstGeom>
          <a:solidFill>
            <a:srgbClr val="9DC4FB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66" name="Text Placeholder 8">
            <a:extLst>
              <a:ext uri="{FF2B5EF4-FFF2-40B4-BE49-F238E27FC236}">
                <a16:creationId xmlns:a16="http://schemas.microsoft.com/office/drawing/2014/main" id="{D7C21E0B-32F7-9CA0-650F-E9EF2B07A87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5946" y="3597865"/>
            <a:ext cx="841548" cy="840850"/>
          </a:xfrm>
          <a:prstGeom prst="ellipse">
            <a:avLst/>
          </a:prstGeom>
          <a:solidFill>
            <a:srgbClr val="93C2FA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67" name="Text Placeholder 8">
            <a:extLst>
              <a:ext uri="{FF2B5EF4-FFF2-40B4-BE49-F238E27FC236}">
                <a16:creationId xmlns:a16="http://schemas.microsoft.com/office/drawing/2014/main" id="{B5E3AD17-495A-FEC8-7314-FA854E74D5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99393" y="3597865"/>
            <a:ext cx="841548" cy="840850"/>
          </a:xfrm>
          <a:prstGeom prst="ellipse">
            <a:avLst/>
          </a:prstGeom>
          <a:solidFill>
            <a:srgbClr val="8AC2F7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68" name="Text Placeholder 8">
            <a:extLst>
              <a:ext uri="{FF2B5EF4-FFF2-40B4-BE49-F238E27FC236}">
                <a16:creationId xmlns:a16="http://schemas.microsoft.com/office/drawing/2014/main" id="{B795C332-73A1-F5C9-4F71-5EE12F44F6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812840" y="3597865"/>
            <a:ext cx="841548" cy="840850"/>
          </a:xfrm>
          <a:prstGeom prst="ellipse">
            <a:avLst/>
          </a:prstGeom>
          <a:solidFill>
            <a:srgbClr val="80BFF5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2311633-CD99-68DF-AA73-FF1A2D3F7D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826289" y="3597865"/>
            <a:ext cx="841548" cy="840850"/>
          </a:xfrm>
          <a:prstGeom prst="ellipse">
            <a:avLst/>
          </a:prstGeom>
          <a:solidFill>
            <a:srgbClr val="78BFF5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4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##</a:t>
            </a: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E340B28-0979-5B5C-93E1-CD3BBCCD7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729" t="18414" r="21670" b="18677"/>
          <a:stretch/>
        </p:blipFill>
        <p:spPr>
          <a:xfrm>
            <a:off x="376556" y="3916832"/>
            <a:ext cx="182568" cy="202916"/>
          </a:xfrm>
          <a:prstGeom prst="rect">
            <a:avLst/>
          </a:prstGeom>
        </p:spPr>
      </p:pic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D49AE7E-AA09-2D73-4F52-C40F2BBF791B}"/>
              </a:ext>
            </a:extLst>
          </p:cNvPr>
          <p:cNvCxnSpPr>
            <a:cxnSpLocks/>
          </p:cNvCxnSpPr>
          <p:nvPr userDrawn="1"/>
        </p:nvCxnSpPr>
        <p:spPr>
          <a:xfrm flipV="1">
            <a:off x="882535" y="2071396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C346C239-8F97-2964-A362-61A9F57E2680}"/>
              </a:ext>
            </a:extLst>
          </p:cNvPr>
          <p:cNvCxnSpPr>
            <a:cxnSpLocks/>
          </p:cNvCxnSpPr>
          <p:nvPr userDrawn="1"/>
        </p:nvCxnSpPr>
        <p:spPr>
          <a:xfrm flipV="1">
            <a:off x="2906335" y="2071396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C6CBA95-0C0B-19B1-B39C-46A8577BD16C}"/>
              </a:ext>
            </a:extLst>
          </p:cNvPr>
          <p:cNvCxnSpPr>
            <a:cxnSpLocks/>
          </p:cNvCxnSpPr>
          <p:nvPr userDrawn="1"/>
        </p:nvCxnSpPr>
        <p:spPr>
          <a:xfrm flipV="1">
            <a:off x="4933465" y="2071396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EE7FFBF-8F63-6D7D-F69D-213A5F2B7AFD}"/>
              </a:ext>
            </a:extLst>
          </p:cNvPr>
          <p:cNvCxnSpPr>
            <a:cxnSpLocks/>
          </p:cNvCxnSpPr>
          <p:nvPr userDrawn="1"/>
        </p:nvCxnSpPr>
        <p:spPr>
          <a:xfrm flipV="1">
            <a:off x="6947739" y="2071396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B6969C8-C3AB-1104-4E47-8F7A59A51545}"/>
              </a:ext>
            </a:extLst>
          </p:cNvPr>
          <p:cNvCxnSpPr>
            <a:cxnSpLocks/>
          </p:cNvCxnSpPr>
          <p:nvPr userDrawn="1"/>
        </p:nvCxnSpPr>
        <p:spPr>
          <a:xfrm flipV="1">
            <a:off x="8973175" y="2071396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882B1A8-BEC9-E1AC-941B-A906F1B39163}"/>
              </a:ext>
            </a:extLst>
          </p:cNvPr>
          <p:cNvCxnSpPr>
            <a:cxnSpLocks/>
          </p:cNvCxnSpPr>
          <p:nvPr userDrawn="1"/>
        </p:nvCxnSpPr>
        <p:spPr>
          <a:xfrm flipV="1">
            <a:off x="1925310" y="4380935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F03269F-DD90-E480-750D-B2174AD75A31}"/>
              </a:ext>
            </a:extLst>
          </p:cNvPr>
          <p:cNvCxnSpPr>
            <a:cxnSpLocks/>
          </p:cNvCxnSpPr>
          <p:nvPr userDrawn="1"/>
        </p:nvCxnSpPr>
        <p:spPr>
          <a:xfrm flipV="1">
            <a:off x="3949869" y="4380935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72AECC56-0AEC-BFD7-2348-18698CE22585}"/>
              </a:ext>
            </a:extLst>
          </p:cNvPr>
          <p:cNvCxnSpPr>
            <a:cxnSpLocks/>
          </p:cNvCxnSpPr>
          <p:nvPr userDrawn="1"/>
        </p:nvCxnSpPr>
        <p:spPr>
          <a:xfrm flipV="1">
            <a:off x="5961550" y="4380935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1A0378C4-3B2A-3607-800B-BB1767AEED83}"/>
              </a:ext>
            </a:extLst>
          </p:cNvPr>
          <p:cNvCxnSpPr>
            <a:cxnSpLocks/>
          </p:cNvCxnSpPr>
          <p:nvPr userDrawn="1"/>
        </p:nvCxnSpPr>
        <p:spPr>
          <a:xfrm flipV="1">
            <a:off x="7991261" y="4380935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3F25DEEE-294A-54D2-C412-68E87E479F90}"/>
              </a:ext>
            </a:extLst>
          </p:cNvPr>
          <p:cNvCxnSpPr>
            <a:cxnSpLocks/>
          </p:cNvCxnSpPr>
          <p:nvPr userDrawn="1"/>
        </p:nvCxnSpPr>
        <p:spPr>
          <a:xfrm flipV="1">
            <a:off x="10013244" y="4380935"/>
            <a:ext cx="0" cy="1595729"/>
          </a:xfrm>
          <a:prstGeom prst="line">
            <a:avLst/>
          </a:prstGeom>
          <a:ln w="15875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 Placeholder 16">
            <a:extLst>
              <a:ext uri="{FF2B5EF4-FFF2-40B4-BE49-F238E27FC236}">
                <a16:creationId xmlns:a16="http://schemas.microsoft.com/office/drawing/2014/main" id="{2A8EB7A9-344F-DB25-8AFB-CA2482F402E1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88751" y="208101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1" name="Text Placeholder 16">
            <a:extLst>
              <a:ext uri="{FF2B5EF4-FFF2-40B4-BE49-F238E27FC236}">
                <a16:creationId xmlns:a16="http://schemas.microsoft.com/office/drawing/2014/main" id="{96BCB7C3-82A5-0C33-2CDC-D551482CFC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988752" y="239664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2" name="Text Placeholder 16">
            <a:extLst>
              <a:ext uri="{FF2B5EF4-FFF2-40B4-BE49-F238E27FC236}">
                <a16:creationId xmlns:a16="http://schemas.microsoft.com/office/drawing/2014/main" id="{C00C26F1-E15D-AF6E-17F1-AB4753D5D8F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009762" y="208101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3" name="Text Placeholder 16">
            <a:extLst>
              <a:ext uri="{FF2B5EF4-FFF2-40B4-BE49-F238E27FC236}">
                <a16:creationId xmlns:a16="http://schemas.microsoft.com/office/drawing/2014/main" id="{E84EA41C-919C-DD2D-7B7A-E77D69264C88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009763" y="239664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4" name="Text Placeholder 16">
            <a:extLst>
              <a:ext uri="{FF2B5EF4-FFF2-40B4-BE49-F238E27FC236}">
                <a16:creationId xmlns:a16="http://schemas.microsoft.com/office/drawing/2014/main" id="{73672822-0230-4A02-A2CD-4D9F0461FA13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5036865" y="208101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5" name="Text Placeholder 16">
            <a:extLst>
              <a:ext uri="{FF2B5EF4-FFF2-40B4-BE49-F238E27FC236}">
                <a16:creationId xmlns:a16="http://schemas.microsoft.com/office/drawing/2014/main" id="{9E4A45BD-C2DC-0E47-EBA7-E4850E291A9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036866" y="239664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6" name="Text Placeholder 16">
            <a:extLst>
              <a:ext uri="{FF2B5EF4-FFF2-40B4-BE49-F238E27FC236}">
                <a16:creationId xmlns:a16="http://schemas.microsoft.com/office/drawing/2014/main" id="{B59EECF0-43B2-6F34-F6E9-F6542524BEBE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52952" y="208101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7" name="Text Placeholder 16">
            <a:extLst>
              <a:ext uri="{FF2B5EF4-FFF2-40B4-BE49-F238E27FC236}">
                <a16:creationId xmlns:a16="http://schemas.microsoft.com/office/drawing/2014/main" id="{87C9198D-83DE-8EC1-A170-6FE8A27AE89E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52953" y="239664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8" name="Text Placeholder 16">
            <a:extLst>
              <a:ext uri="{FF2B5EF4-FFF2-40B4-BE49-F238E27FC236}">
                <a16:creationId xmlns:a16="http://schemas.microsoft.com/office/drawing/2014/main" id="{F436BA6D-43D3-3C80-3756-EB0E0039DA46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080057" y="208101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9" name="Text Placeholder 16">
            <a:extLst>
              <a:ext uri="{FF2B5EF4-FFF2-40B4-BE49-F238E27FC236}">
                <a16:creationId xmlns:a16="http://schemas.microsoft.com/office/drawing/2014/main" id="{7FB87A45-1FCB-0D5C-41F8-00DF67C85893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9080058" y="239664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0" name="Text Placeholder 16">
            <a:extLst>
              <a:ext uri="{FF2B5EF4-FFF2-40B4-BE49-F238E27FC236}">
                <a16:creationId xmlns:a16="http://schemas.microsoft.com/office/drawing/2014/main" id="{05915149-6393-B442-1343-CA8C44A0162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2031914" y="4987574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1" name="Text Placeholder 16">
            <a:extLst>
              <a:ext uri="{FF2B5EF4-FFF2-40B4-BE49-F238E27FC236}">
                <a16:creationId xmlns:a16="http://schemas.microsoft.com/office/drawing/2014/main" id="{11D2588E-510C-C269-F68B-A953394111AC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2031915" y="5303206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2" name="Text Placeholder 16">
            <a:extLst>
              <a:ext uri="{FF2B5EF4-FFF2-40B4-BE49-F238E27FC236}">
                <a16:creationId xmlns:a16="http://schemas.microsoft.com/office/drawing/2014/main" id="{6B0C80C0-74AE-E9A7-DA8D-38245296EA3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4058940" y="4987574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3" name="Text Placeholder 16">
            <a:extLst>
              <a:ext uri="{FF2B5EF4-FFF2-40B4-BE49-F238E27FC236}">
                <a16:creationId xmlns:a16="http://schemas.microsoft.com/office/drawing/2014/main" id="{82C49AD9-55BA-950E-CE20-7892F67ED7E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4058941" y="5303206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4" name="Text Placeholder 16">
            <a:extLst>
              <a:ext uri="{FF2B5EF4-FFF2-40B4-BE49-F238E27FC236}">
                <a16:creationId xmlns:a16="http://schemas.microsoft.com/office/drawing/2014/main" id="{70E3857F-7188-F7D1-DEA9-58E88551253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73178" y="4987574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5" name="Text Placeholder 16">
            <a:extLst>
              <a:ext uri="{FF2B5EF4-FFF2-40B4-BE49-F238E27FC236}">
                <a16:creationId xmlns:a16="http://schemas.microsoft.com/office/drawing/2014/main" id="{94A15587-75BC-1446-9CCD-5177AA90C2DE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073179" y="5303206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6" name="Text Placeholder 16">
            <a:extLst>
              <a:ext uri="{FF2B5EF4-FFF2-40B4-BE49-F238E27FC236}">
                <a16:creationId xmlns:a16="http://schemas.microsoft.com/office/drawing/2014/main" id="{81FD59F1-0665-AE67-2A30-CDEE8AEE6734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8100205" y="4987574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7" name="Text Placeholder 16">
            <a:extLst>
              <a:ext uri="{FF2B5EF4-FFF2-40B4-BE49-F238E27FC236}">
                <a16:creationId xmlns:a16="http://schemas.microsoft.com/office/drawing/2014/main" id="{7AB3198D-2C79-C7B5-17CE-02F0260D1BF5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8100206" y="5303206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8" name="Text Placeholder 16">
            <a:extLst>
              <a:ext uri="{FF2B5EF4-FFF2-40B4-BE49-F238E27FC236}">
                <a16:creationId xmlns:a16="http://schemas.microsoft.com/office/drawing/2014/main" id="{BF4ACECB-2691-1A16-3992-DD06A44BC28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10120838" y="4987574"/>
            <a:ext cx="1728262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09" name="Text Placeholder 16">
            <a:extLst>
              <a:ext uri="{FF2B5EF4-FFF2-40B4-BE49-F238E27FC236}">
                <a16:creationId xmlns:a16="http://schemas.microsoft.com/office/drawing/2014/main" id="{9B9CF991-9850-FBD8-7FD9-E897A38380ED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10120839" y="5303206"/>
            <a:ext cx="1728262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1447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melin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6B6D3B0-CF4C-09EC-63DA-7CD72C7BC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78" y="4015380"/>
            <a:ext cx="11147328" cy="0"/>
          </a:xfrm>
          <a:prstGeom prst="line">
            <a:avLst/>
          </a:prstGeom>
          <a:ln w="34925">
            <a:solidFill>
              <a:schemeClr val="bg1">
                <a:lumMod val="85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480131"/>
          </a:xfrm>
        </p:spPr>
        <p:txBody>
          <a:bodyPr>
            <a:sp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E340B28-0979-5B5C-93E1-CD3BBCCD7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729" t="18414" r="21670" b="18677"/>
          <a:stretch/>
        </p:blipFill>
        <p:spPr>
          <a:xfrm>
            <a:off x="376556" y="3916832"/>
            <a:ext cx="182568" cy="202916"/>
          </a:xfrm>
          <a:prstGeom prst="rect">
            <a:avLst/>
          </a:prstGeom>
        </p:spPr>
      </p:pic>
      <p:sp>
        <p:nvSpPr>
          <p:cNvPr id="90" name="Text Placeholder 16">
            <a:extLst>
              <a:ext uri="{FF2B5EF4-FFF2-40B4-BE49-F238E27FC236}">
                <a16:creationId xmlns:a16="http://schemas.microsoft.com/office/drawing/2014/main" id="{2A8EB7A9-344F-DB25-8AFB-CA2482F402E1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91672" y="290778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91" name="Text Placeholder 16">
            <a:extLst>
              <a:ext uri="{FF2B5EF4-FFF2-40B4-BE49-F238E27FC236}">
                <a16:creationId xmlns:a16="http://schemas.microsoft.com/office/drawing/2014/main" id="{96BCB7C3-82A5-0C33-2CDC-D551482CFC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91672" y="321579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2A33DC4-BCA2-4D1C-B5CF-C5D78DAD1C7A}"/>
              </a:ext>
            </a:extLst>
          </p:cNvPr>
          <p:cNvSpPr/>
          <p:nvPr userDrawn="1"/>
        </p:nvSpPr>
        <p:spPr>
          <a:xfrm>
            <a:off x="1171668" y="3962929"/>
            <a:ext cx="104902" cy="104902"/>
          </a:xfrm>
          <a:prstGeom prst="ellipse">
            <a:avLst/>
          </a:prstGeom>
          <a:solidFill>
            <a:srgbClr val="6946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90B9D5E3-3F8A-7E49-80D1-85E33F85089E}"/>
              </a:ext>
            </a:extLst>
          </p:cNvPr>
          <p:cNvSpPr/>
          <p:nvPr userDrawn="1"/>
        </p:nvSpPr>
        <p:spPr>
          <a:xfrm>
            <a:off x="2339428" y="3962929"/>
            <a:ext cx="104902" cy="1049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3BA7EC9E-7527-C735-71FB-8703CFCFE392}"/>
              </a:ext>
            </a:extLst>
          </p:cNvPr>
          <p:cNvSpPr/>
          <p:nvPr userDrawn="1"/>
        </p:nvSpPr>
        <p:spPr>
          <a:xfrm>
            <a:off x="3602510" y="3962929"/>
            <a:ext cx="104902" cy="104902"/>
          </a:xfrm>
          <a:prstGeom prst="ellipse">
            <a:avLst/>
          </a:prstGeom>
          <a:solidFill>
            <a:srgbClr val="8265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31CA1267-0CC0-FEBB-B0FD-DA3722EE2463}"/>
              </a:ext>
            </a:extLst>
          </p:cNvPr>
          <p:cNvSpPr/>
          <p:nvPr userDrawn="1"/>
        </p:nvSpPr>
        <p:spPr>
          <a:xfrm>
            <a:off x="4769526" y="3962929"/>
            <a:ext cx="104902" cy="104902"/>
          </a:xfrm>
          <a:prstGeom prst="ellipse">
            <a:avLst/>
          </a:prstGeom>
          <a:solidFill>
            <a:srgbClr val="91A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AACA635E-9BAD-6070-1263-FFA92A907110}"/>
              </a:ext>
            </a:extLst>
          </p:cNvPr>
          <p:cNvSpPr/>
          <p:nvPr userDrawn="1"/>
        </p:nvSpPr>
        <p:spPr>
          <a:xfrm>
            <a:off x="6032608" y="3962929"/>
            <a:ext cx="104902" cy="104902"/>
          </a:xfrm>
          <a:prstGeom prst="ellipse">
            <a:avLst/>
          </a:prstGeom>
          <a:solidFill>
            <a:srgbClr val="9B84F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E79969C9-73E6-5284-B983-83F1C02019D4}"/>
              </a:ext>
            </a:extLst>
          </p:cNvPr>
          <p:cNvSpPr/>
          <p:nvPr userDrawn="1"/>
        </p:nvSpPr>
        <p:spPr>
          <a:xfrm>
            <a:off x="7188919" y="3962929"/>
            <a:ext cx="104902" cy="104902"/>
          </a:xfrm>
          <a:prstGeom prst="ellipse">
            <a:avLst/>
          </a:prstGeom>
          <a:solidFill>
            <a:srgbClr val="A7BC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8E275DEA-BE70-0B21-C0AA-0CFAA5312624}"/>
              </a:ext>
            </a:extLst>
          </p:cNvPr>
          <p:cNvSpPr/>
          <p:nvPr userDrawn="1"/>
        </p:nvSpPr>
        <p:spPr>
          <a:xfrm>
            <a:off x="8459149" y="3962929"/>
            <a:ext cx="104902" cy="104902"/>
          </a:xfrm>
          <a:prstGeom prst="ellipse">
            <a:avLst/>
          </a:prstGeom>
          <a:solidFill>
            <a:srgbClr val="B4A2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B5D8C4C4-F80E-BDFD-B6B4-DC7BDFF5C3C5}"/>
              </a:ext>
            </a:extLst>
          </p:cNvPr>
          <p:cNvSpPr/>
          <p:nvPr userDrawn="1"/>
        </p:nvSpPr>
        <p:spPr>
          <a:xfrm>
            <a:off x="9611429" y="3962929"/>
            <a:ext cx="104902" cy="104902"/>
          </a:xfrm>
          <a:prstGeom prst="ellipse">
            <a:avLst/>
          </a:prstGeom>
          <a:solidFill>
            <a:srgbClr val="BDCD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Text Placeholder 8">
            <a:extLst>
              <a:ext uri="{FF2B5EF4-FFF2-40B4-BE49-F238E27FC236}">
                <a16:creationId xmlns:a16="http://schemas.microsoft.com/office/drawing/2014/main" id="{D42C4A79-F00F-B210-B707-E634166ADF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089" y="1888596"/>
            <a:ext cx="840061" cy="839364"/>
          </a:xfrm>
          <a:prstGeom prst="ellipse">
            <a:avLst/>
          </a:prstGeom>
          <a:solidFill>
            <a:srgbClr val="6946EF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24" name="Text Placeholder 8">
            <a:extLst>
              <a:ext uri="{FF2B5EF4-FFF2-40B4-BE49-F238E27FC236}">
                <a16:creationId xmlns:a16="http://schemas.microsoft.com/office/drawing/2014/main" id="{309830D9-5786-8989-5274-1F82367D9E3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234869" y="1888596"/>
            <a:ext cx="840061" cy="839364"/>
          </a:xfrm>
          <a:prstGeom prst="ellipse">
            <a:avLst/>
          </a:prstGeom>
          <a:solidFill>
            <a:srgbClr val="8265F2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6C07CCE-B897-D21C-AE14-14DF91AE7B6E}"/>
              </a:ext>
            </a:extLst>
          </p:cNvPr>
          <p:cNvCxnSpPr>
            <a:cxnSpLocks/>
          </p:cNvCxnSpPr>
          <p:nvPr userDrawn="1"/>
        </p:nvCxnSpPr>
        <p:spPr>
          <a:xfrm flipV="1">
            <a:off x="3654899" y="2724150"/>
            <a:ext cx="0" cy="1238779"/>
          </a:xfrm>
          <a:prstGeom prst="line">
            <a:avLst/>
          </a:prstGeom>
          <a:ln w="22225">
            <a:solidFill>
              <a:srgbClr val="8265F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 Placeholder 16">
            <a:extLst>
              <a:ext uri="{FF2B5EF4-FFF2-40B4-BE49-F238E27FC236}">
                <a16:creationId xmlns:a16="http://schemas.microsoft.com/office/drawing/2014/main" id="{89F93B19-9B8F-6CF3-BC11-15245F9343B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850062" y="290778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A069EA3B-0BFA-2AEA-73DD-3F8C1AED69D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3850062" y="321579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28" name="Text Placeholder 8">
            <a:extLst>
              <a:ext uri="{FF2B5EF4-FFF2-40B4-BE49-F238E27FC236}">
                <a16:creationId xmlns:a16="http://schemas.microsoft.com/office/drawing/2014/main" id="{97D81A48-A72A-0C93-4DC3-3461B31C679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661839" y="1888596"/>
            <a:ext cx="840061" cy="839364"/>
          </a:xfrm>
          <a:prstGeom prst="ellipse">
            <a:avLst/>
          </a:prstGeom>
          <a:solidFill>
            <a:srgbClr val="9B84F4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011501A3-0136-9A65-AFF1-BC0C3E53E8F2}"/>
              </a:ext>
            </a:extLst>
          </p:cNvPr>
          <p:cNvCxnSpPr>
            <a:cxnSpLocks/>
          </p:cNvCxnSpPr>
          <p:nvPr userDrawn="1"/>
        </p:nvCxnSpPr>
        <p:spPr>
          <a:xfrm flipV="1">
            <a:off x="6081869" y="2724150"/>
            <a:ext cx="0" cy="1238779"/>
          </a:xfrm>
          <a:prstGeom prst="line">
            <a:avLst/>
          </a:prstGeom>
          <a:ln w="22225">
            <a:solidFill>
              <a:srgbClr val="9B84F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764C1E5C-B589-F406-7C69-BBE04CAB5958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6277032" y="290778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9C847F64-931D-4E90-6E3E-166E8F2B98A9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6277032" y="321579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8B5ECBC1-A54B-DF7B-A26D-C3C679A5A26A}"/>
              </a:ext>
            </a:extLst>
          </p:cNvPr>
          <p:cNvSpPr/>
          <p:nvPr userDrawn="1"/>
        </p:nvSpPr>
        <p:spPr>
          <a:xfrm>
            <a:off x="8455768" y="3962929"/>
            <a:ext cx="104902" cy="104902"/>
          </a:xfrm>
          <a:prstGeom prst="ellipse">
            <a:avLst/>
          </a:prstGeom>
          <a:solidFill>
            <a:srgbClr val="B4A2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 Placeholder 8">
            <a:extLst>
              <a:ext uri="{FF2B5EF4-FFF2-40B4-BE49-F238E27FC236}">
                <a16:creationId xmlns:a16="http://schemas.microsoft.com/office/drawing/2014/main" id="{9353A99F-9D31-2DDA-3849-E02240B11C0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084999" y="1888596"/>
            <a:ext cx="840061" cy="839364"/>
          </a:xfrm>
          <a:prstGeom prst="ellipse">
            <a:avLst/>
          </a:prstGeom>
          <a:solidFill>
            <a:srgbClr val="B4A2F7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A13B17F-D58D-7E8F-1ADE-C2576E335F52}"/>
              </a:ext>
            </a:extLst>
          </p:cNvPr>
          <p:cNvCxnSpPr>
            <a:cxnSpLocks/>
          </p:cNvCxnSpPr>
          <p:nvPr userDrawn="1"/>
        </p:nvCxnSpPr>
        <p:spPr>
          <a:xfrm flipV="1">
            <a:off x="8505029" y="2724150"/>
            <a:ext cx="0" cy="1238779"/>
          </a:xfrm>
          <a:prstGeom prst="line">
            <a:avLst/>
          </a:prstGeom>
          <a:ln w="22225">
            <a:solidFill>
              <a:srgbClr val="B4A2F7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 Placeholder 16">
            <a:extLst>
              <a:ext uri="{FF2B5EF4-FFF2-40B4-BE49-F238E27FC236}">
                <a16:creationId xmlns:a16="http://schemas.microsoft.com/office/drawing/2014/main" id="{2D6DFB89-5775-2B45-1DA8-F5A21FD3EE6D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8700192" y="2907786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36" name="Text Placeholder 16">
            <a:extLst>
              <a:ext uri="{FF2B5EF4-FFF2-40B4-BE49-F238E27FC236}">
                <a16:creationId xmlns:a16="http://schemas.microsoft.com/office/drawing/2014/main" id="{8AB31230-5B18-C9A2-21D3-9F7636DEFDF0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700192" y="3215798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39" name="Text Placeholder 8">
            <a:extLst>
              <a:ext uri="{FF2B5EF4-FFF2-40B4-BE49-F238E27FC236}">
                <a16:creationId xmlns:a16="http://schemas.microsoft.com/office/drawing/2014/main" id="{B86C7B42-5482-717A-C58C-0A0228086B5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971986" y="5274591"/>
            <a:ext cx="840061" cy="839364"/>
          </a:xfrm>
          <a:prstGeom prst="ellipse">
            <a:avLst/>
          </a:prstGeom>
          <a:solidFill>
            <a:srgbClr val="7B9BFF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40" name="Text Placeholder 16">
            <a:extLst>
              <a:ext uri="{FF2B5EF4-FFF2-40B4-BE49-F238E27FC236}">
                <a16:creationId xmlns:a16="http://schemas.microsoft.com/office/drawing/2014/main" id="{B78B702A-FD1C-68DE-481F-357F7453ABA9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2710312" y="4480901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41" name="Text Placeholder 16">
            <a:extLst>
              <a:ext uri="{FF2B5EF4-FFF2-40B4-BE49-F238E27FC236}">
                <a16:creationId xmlns:a16="http://schemas.microsoft.com/office/drawing/2014/main" id="{4A1BE665-FEA2-091C-BC8B-DF6000ECBA0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2710312" y="4788913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0D49AE7E-AA09-2D73-4F52-C40F2BBF791B}"/>
              </a:ext>
            </a:extLst>
          </p:cNvPr>
          <p:cNvCxnSpPr>
            <a:cxnSpLocks/>
          </p:cNvCxnSpPr>
          <p:nvPr userDrawn="1"/>
        </p:nvCxnSpPr>
        <p:spPr>
          <a:xfrm flipV="1">
            <a:off x="2391879" y="4067832"/>
            <a:ext cx="0" cy="1206760"/>
          </a:xfrm>
          <a:prstGeom prst="line">
            <a:avLst/>
          </a:prstGeom>
          <a:ln w="22225">
            <a:solidFill>
              <a:srgbClr val="7B9B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BC45EAF-0969-3EC1-7B8A-EB880D07A5F9}"/>
              </a:ext>
            </a:extLst>
          </p:cNvPr>
          <p:cNvCxnSpPr>
            <a:cxnSpLocks/>
          </p:cNvCxnSpPr>
          <p:nvPr userDrawn="1"/>
        </p:nvCxnSpPr>
        <p:spPr>
          <a:xfrm flipV="1">
            <a:off x="4818722" y="4067832"/>
            <a:ext cx="0" cy="1206760"/>
          </a:xfrm>
          <a:prstGeom prst="line">
            <a:avLst/>
          </a:prstGeom>
          <a:ln w="22225">
            <a:solidFill>
              <a:srgbClr val="7B9B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 Placeholder 8">
            <a:extLst>
              <a:ext uri="{FF2B5EF4-FFF2-40B4-BE49-F238E27FC236}">
                <a16:creationId xmlns:a16="http://schemas.microsoft.com/office/drawing/2014/main" id="{7D197449-444F-6FD9-F238-115AF0AF45EA}"/>
              </a:ext>
            </a:extLst>
          </p:cNvPr>
          <p:cNvSpPr>
            <a:spLocks noGrp="1"/>
          </p:cNvSpPr>
          <p:nvPr userDrawn="1">
            <p:ph type="body" sz="quarter" idx="70" hasCustomPrompt="1"/>
          </p:nvPr>
        </p:nvSpPr>
        <p:spPr>
          <a:xfrm>
            <a:off x="4398829" y="5274591"/>
            <a:ext cx="840061" cy="839364"/>
          </a:xfrm>
          <a:prstGeom prst="ellipse">
            <a:avLst/>
          </a:prstGeom>
          <a:solidFill>
            <a:srgbClr val="7B9BFF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45" name="Text Placeholder 16">
            <a:extLst>
              <a:ext uri="{FF2B5EF4-FFF2-40B4-BE49-F238E27FC236}">
                <a16:creationId xmlns:a16="http://schemas.microsoft.com/office/drawing/2014/main" id="{89139209-2E40-2C2A-77DC-6EC11B5C3C34}"/>
              </a:ext>
            </a:extLst>
          </p:cNvPr>
          <p:cNvSpPr>
            <a:spLocks noGrp="1"/>
          </p:cNvSpPr>
          <p:nvPr userDrawn="1">
            <p:ph type="body" sz="quarter" idx="71"/>
          </p:nvPr>
        </p:nvSpPr>
        <p:spPr>
          <a:xfrm>
            <a:off x="5050482" y="4480901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46" name="Text Placeholder 16">
            <a:extLst>
              <a:ext uri="{FF2B5EF4-FFF2-40B4-BE49-F238E27FC236}">
                <a16:creationId xmlns:a16="http://schemas.microsoft.com/office/drawing/2014/main" id="{EA4857AE-7022-2B45-5471-243ADE1752A9}"/>
              </a:ext>
            </a:extLst>
          </p:cNvPr>
          <p:cNvSpPr>
            <a:spLocks noGrp="1"/>
          </p:cNvSpPr>
          <p:nvPr userDrawn="1">
            <p:ph type="body" sz="quarter" idx="72"/>
          </p:nvPr>
        </p:nvSpPr>
        <p:spPr>
          <a:xfrm>
            <a:off x="5050482" y="4788913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3793439-E2BB-97FB-9C66-8D1692DED9CA}"/>
              </a:ext>
            </a:extLst>
          </p:cNvPr>
          <p:cNvCxnSpPr>
            <a:cxnSpLocks/>
          </p:cNvCxnSpPr>
          <p:nvPr userDrawn="1"/>
        </p:nvCxnSpPr>
        <p:spPr>
          <a:xfrm flipV="1">
            <a:off x="7241370" y="4067832"/>
            <a:ext cx="0" cy="1206760"/>
          </a:xfrm>
          <a:prstGeom prst="line">
            <a:avLst/>
          </a:prstGeom>
          <a:ln w="22225">
            <a:solidFill>
              <a:srgbClr val="A7BC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 Placeholder 8">
            <a:extLst>
              <a:ext uri="{FF2B5EF4-FFF2-40B4-BE49-F238E27FC236}">
                <a16:creationId xmlns:a16="http://schemas.microsoft.com/office/drawing/2014/main" id="{540175CB-9C15-49A9-64BB-D279E4B0418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821340" y="5274591"/>
            <a:ext cx="840061" cy="839364"/>
          </a:xfrm>
          <a:prstGeom prst="ellipse">
            <a:avLst/>
          </a:prstGeom>
          <a:solidFill>
            <a:srgbClr val="A7BCFF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50" name="Text Placeholder 16">
            <a:extLst>
              <a:ext uri="{FF2B5EF4-FFF2-40B4-BE49-F238E27FC236}">
                <a16:creationId xmlns:a16="http://schemas.microsoft.com/office/drawing/2014/main" id="{28E3BBE4-1181-01A8-6B00-FE20082317EC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7429657" y="4788913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51" name="Text Placeholder 16">
            <a:extLst>
              <a:ext uri="{FF2B5EF4-FFF2-40B4-BE49-F238E27FC236}">
                <a16:creationId xmlns:a16="http://schemas.microsoft.com/office/drawing/2014/main" id="{A892DF38-B771-DDD8-45B5-2AEB2FC9C604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7429657" y="4480901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9203656C-0B1D-902F-D52D-1B2B2B85D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9663880" y="4067832"/>
            <a:ext cx="0" cy="1206760"/>
          </a:xfrm>
          <a:prstGeom prst="line">
            <a:avLst/>
          </a:prstGeom>
          <a:ln w="22225">
            <a:solidFill>
              <a:srgbClr val="BDCD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 Placeholder 8">
            <a:extLst>
              <a:ext uri="{FF2B5EF4-FFF2-40B4-BE49-F238E27FC236}">
                <a16:creationId xmlns:a16="http://schemas.microsoft.com/office/drawing/2014/main" id="{383E59BC-7680-FF68-D1F8-16CD0CDE68F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243850" y="5274591"/>
            <a:ext cx="840061" cy="839364"/>
          </a:xfrm>
          <a:prstGeom prst="ellipse">
            <a:avLst/>
          </a:prstGeom>
          <a:solidFill>
            <a:srgbClr val="BDCDFF"/>
          </a:solidFill>
        </p:spPr>
        <p:txBody>
          <a:bodyPr lIns="0" tIns="0" rIns="0" bIns="0" anchor="ctr" anchorCtr="0"/>
          <a:lstStyle>
            <a:lvl1pPr algn="ctr">
              <a:lnSpc>
                <a:spcPct val="100000"/>
              </a:lnSpc>
              <a:defRPr sz="180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bg1"/>
                </a:solidFill>
              </a:defRPr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54" name="Text Placeholder 16">
            <a:extLst>
              <a:ext uri="{FF2B5EF4-FFF2-40B4-BE49-F238E27FC236}">
                <a16:creationId xmlns:a16="http://schemas.microsoft.com/office/drawing/2014/main" id="{C302AC20-2C21-6558-C424-B3E821F30544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9886836" y="4788913"/>
            <a:ext cx="1728216" cy="423976"/>
          </a:xfrm>
        </p:spPr>
        <p:txBody>
          <a:bodyPr tIns="0" bIns="0"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9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55" name="Text Placeholder 16">
            <a:extLst>
              <a:ext uri="{FF2B5EF4-FFF2-40B4-BE49-F238E27FC236}">
                <a16:creationId xmlns:a16="http://schemas.microsoft.com/office/drawing/2014/main" id="{872E8B08-3BD8-5A16-9D5E-676945CBC844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9886836" y="4480901"/>
            <a:ext cx="1728216" cy="169277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1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1E7DCFE5-58FC-BA50-729F-91DF8EE847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24119" y="2724150"/>
            <a:ext cx="0" cy="1238779"/>
          </a:xfrm>
          <a:prstGeom prst="line">
            <a:avLst/>
          </a:prstGeom>
          <a:ln w="22225">
            <a:solidFill>
              <a:srgbClr val="6946E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416171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meline_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6B6D3B0-CF4C-09EC-63DA-7CD72C7BC334}"/>
              </a:ext>
            </a:extLst>
          </p:cNvPr>
          <p:cNvCxnSpPr>
            <a:cxnSpLocks/>
          </p:cNvCxnSpPr>
          <p:nvPr userDrawn="1"/>
        </p:nvCxnSpPr>
        <p:spPr>
          <a:xfrm flipH="1">
            <a:off x="713678" y="4015380"/>
            <a:ext cx="11147328" cy="0"/>
          </a:xfrm>
          <a:prstGeom prst="line">
            <a:avLst/>
          </a:prstGeom>
          <a:ln w="34925">
            <a:solidFill>
              <a:schemeClr val="bg1">
                <a:lumMod val="85000"/>
              </a:schemeClr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BD34466-BB3A-2C94-8B6C-E09A89874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014369"/>
            <a:ext cx="9001478" cy="480131"/>
          </a:xfrm>
        </p:spPr>
        <p:txBody>
          <a:bodyPr>
            <a:sp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8C9CF59C-9E8C-A159-C7FE-813816519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30" name="Picture Placeholder 23">
            <a:extLst>
              <a:ext uri="{FF2B5EF4-FFF2-40B4-BE49-F238E27FC236}">
                <a16:creationId xmlns:a16="http://schemas.microsoft.com/office/drawing/2014/main" id="{04BDEF69-5F85-4003-592A-72BAF9521D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E340B28-0979-5B5C-93E1-CD3BBCCD7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1729" t="18414" r="21670" b="18677"/>
          <a:stretch/>
        </p:blipFill>
        <p:spPr>
          <a:xfrm>
            <a:off x="376556" y="3916832"/>
            <a:ext cx="182568" cy="202916"/>
          </a:xfrm>
          <a:prstGeom prst="rect">
            <a:avLst/>
          </a:prstGeom>
        </p:spPr>
      </p:pic>
      <p:sp>
        <p:nvSpPr>
          <p:cNvPr id="90" name="Text Placeholder 16">
            <a:extLst>
              <a:ext uri="{FF2B5EF4-FFF2-40B4-BE49-F238E27FC236}">
                <a16:creationId xmlns:a16="http://schemas.microsoft.com/office/drawing/2014/main" id="{2A8EB7A9-344F-DB25-8AFB-CA2482F402E1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91672" y="3453092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72A33DC4-BCA2-4D1C-B5CF-C5D78DAD1C7A}"/>
              </a:ext>
            </a:extLst>
          </p:cNvPr>
          <p:cNvSpPr/>
          <p:nvPr userDrawn="1"/>
        </p:nvSpPr>
        <p:spPr>
          <a:xfrm>
            <a:off x="1245486" y="3962929"/>
            <a:ext cx="104902" cy="104902"/>
          </a:xfrm>
          <a:prstGeom prst="ellipse">
            <a:avLst/>
          </a:prstGeom>
          <a:solidFill>
            <a:srgbClr val="6946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1E7DCFE5-58FC-BA50-729F-91DF8EE847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97937" y="3121819"/>
            <a:ext cx="0" cy="841110"/>
          </a:xfrm>
          <a:prstGeom prst="line">
            <a:avLst/>
          </a:prstGeom>
          <a:ln w="22225">
            <a:solidFill>
              <a:srgbClr val="6946E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8C02D379-8102-7981-1F0D-2E26CB6DE792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3998898" y="3453092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313881F-BB56-5E34-530D-97E8800CB617}"/>
              </a:ext>
            </a:extLst>
          </p:cNvPr>
          <p:cNvSpPr/>
          <p:nvPr userDrawn="1"/>
        </p:nvSpPr>
        <p:spPr>
          <a:xfrm>
            <a:off x="3752712" y="3962929"/>
            <a:ext cx="104902" cy="104902"/>
          </a:xfrm>
          <a:prstGeom prst="ellipse">
            <a:avLst/>
          </a:prstGeom>
          <a:solidFill>
            <a:srgbClr val="6946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3B8A7DA-4247-AF0B-51B8-CCBC6DF0E268}"/>
              </a:ext>
            </a:extLst>
          </p:cNvPr>
          <p:cNvCxnSpPr>
            <a:cxnSpLocks/>
          </p:cNvCxnSpPr>
          <p:nvPr userDrawn="1"/>
        </p:nvCxnSpPr>
        <p:spPr>
          <a:xfrm flipV="1">
            <a:off x="3805163" y="3121819"/>
            <a:ext cx="0" cy="841110"/>
          </a:xfrm>
          <a:prstGeom prst="line">
            <a:avLst/>
          </a:prstGeom>
          <a:ln w="22225">
            <a:solidFill>
              <a:srgbClr val="6946E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70485F16-CFF6-D945-2AEB-B2F10F5C2E04}"/>
              </a:ext>
            </a:extLst>
          </p:cNvPr>
          <p:cNvSpPr>
            <a:spLocks noGrp="1"/>
          </p:cNvSpPr>
          <p:nvPr>
            <p:ph type="body" sz="quarter" idx="82"/>
          </p:nvPr>
        </p:nvSpPr>
        <p:spPr>
          <a:xfrm>
            <a:off x="6513498" y="3453092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84EE58-A174-08F4-77EF-63E12CD691BB}"/>
              </a:ext>
            </a:extLst>
          </p:cNvPr>
          <p:cNvSpPr/>
          <p:nvPr userDrawn="1"/>
        </p:nvSpPr>
        <p:spPr>
          <a:xfrm>
            <a:off x="6267312" y="3962929"/>
            <a:ext cx="104902" cy="104902"/>
          </a:xfrm>
          <a:prstGeom prst="ellipse">
            <a:avLst/>
          </a:prstGeom>
          <a:solidFill>
            <a:srgbClr val="6946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704B0FE-F6AC-3C77-0B92-2A5F458B1086}"/>
              </a:ext>
            </a:extLst>
          </p:cNvPr>
          <p:cNvCxnSpPr>
            <a:cxnSpLocks/>
          </p:cNvCxnSpPr>
          <p:nvPr userDrawn="1"/>
        </p:nvCxnSpPr>
        <p:spPr>
          <a:xfrm flipV="1">
            <a:off x="6319763" y="3121819"/>
            <a:ext cx="0" cy="841110"/>
          </a:xfrm>
          <a:prstGeom prst="line">
            <a:avLst/>
          </a:prstGeom>
          <a:ln w="22225">
            <a:solidFill>
              <a:srgbClr val="6946E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C12C77B0-D524-79FA-53EE-1CDC74BE1F47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9028098" y="3453092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69329E8-0045-A90E-8D13-0212D7ABA869}"/>
              </a:ext>
            </a:extLst>
          </p:cNvPr>
          <p:cNvSpPr/>
          <p:nvPr userDrawn="1"/>
        </p:nvSpPr>
        <p:spPr>
          <a:xfrm>
            <a:off x="8781912" y="3962929"/>
            <a:ext cx="104902" cy="104902"/>
          </a:xfrm>
          <a:prstGeom prst="ellipse">
            <a:avLst/>
          </a:prstGeom>
          <a:solidFill>
            <a:srgbClr val="6946E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6F0BA53-86F7-2CE1-CADD-F62418599793}"/>
              </a:ext>
            </a:extLst>
          </p:cNvPr>
          <p:cNvCxnSpPr>
            <a:cxnSpLocks/>
          </p:cNvCxnSpPr>
          <p:nvPr userDrawn="1"/>
        </p:nvCxnSpPr>
        <p:spPr>
          <a:xfrm flipV="1">
            <a:off x="8834363" y="3121819"/>
            <a:ext cx="0" cy="841110"/>
          </a:xfrm>
          <a:prstGeom prst="line">
            <a:avLst/>
          </a:prstGeom>
          <a:ln w="22225">
            <a:solidFill>
              <a:srgbClr val="6946E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FD40EA55-FF34-9DB9-BFB4-CBD7D8CF3225}"/>
              </a:ext>
            </a:extLst>
          </p:cNvPr>
          <p:cNvSpPr/>
          <p:nvPr userDrawn="1"/>
        </p:nvSpPr>
        <p:spPr>
          <a:xfrm>
            <a:off x="2513847" y="3962929"/>
            <a:ext cx="104902" cy="104902"/>
          </a:xfrm>
          <a:prstGeom prst="ellipse">
            <a:avLst/>
          </a:prstGeom>
          <a:solidFill>
            <a:srgbClr val="7B9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340F42D-B8D4-BED6-6B69-729851378B05}"/>
              </a:ext>
            </a:extLst>
          </p:cNvPr>
          <p:cNvCxnSpPr>
            <a:cxnSpLocks/>
          </p:cNvCxnSpPr>
          <p:nvPr userDrawn="1"/>
        </p:nvCxnSpPr>
        <p:spPr>
          <a:xfrm flipV="1">
            <a:off x="2566298" y="4042882"/>
            <a:ext cx="0" cy="841110"/>
          </a:xfrm>
          <a:prstGeom prst="line">
            <a:avLst/>
          </a:prstGeom>
          <a:ln w="22225">
            <a:solidFill>
              <a:srgbClr val="7B9B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277FECA3-8FA4-BA27-289F-F3555F900AD3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2754447" y="4334848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2D0EDBA-6B69-BC7E-0D02-98B8A98F5BFC}"/>
              </a:ext>
            </a:extLst>
          </p:cNvPr>
          <p:cNvSpPr/>
          <p:nvPr userDrawn="1"/>
        </p:nvSpPr>
        <p:spPr>
          <a:xfrm>
            <a:off x="5027009" y="3962929"/>
            <a:ext cx="104902" cy="104902"/>
          </a:xfrm>
          <a:prstGeom prst="ellipse">
            <a:avLst/>
          </a:prstGeom>
          <a:solidFill>
            <a:srgbClr val="7B9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89B5C59-29C5-6D2E-2084-C7C0FBB949D0}"/>
              </a:ext>
            </a:extLst>
          </p:cNvPr>
          <p:cNvCxnSpPr>
            <a:cxnSpLocks/>
          </p:cNvCxnSpPr>
          <p:nvPr userDrawn="1"/>
        </p:nvCxnSpPr>
        <p:spPr>
          <a:xfrm flipV="1">
            <a:off x="5079460" y="4042882"/>
            <a:ext cx="0" cy="841110"/>
          </a:xfrm>
          <a:prstGeom prst="line">
            <a:avLst/>
          </a:prstGeom>
          <a:ln w="22225">
            <a:solidFill>
              <a:srgbClr val="7B9B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6">
            <a:extLst>
              <a:ext uri="{FF2B5EF4-FFF2-40B4-BE49-F238E27FC236}">
                <a16:creationId xmlns:a16="http://schemas.microsoft.com/office/drawing/2014/main" id="{1AEC8CBB-38DB-7913-D174-332B3A708D5B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5267609" y="4334848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9F94A83-EF65-7159-AE9D-3F8DAA4CA460}"/>
              </a:ext>
            </a:extLst>
          </p:cNvPr>
          <p:cNvSpPr/>
          <p:nvPr userDrawn="1"/>
        </p:nvSpPr>
        <p:spPr>
          <a:xfrm>
            <a:off x="7540171" y="3962929"/>
            <a:ext cx="104902" cy="104902"/>
          </a:xfrm>
          <a:prstGeom prst="ellipse">
            <a:avLst/>
          </a:prstGeom>
          <a:solidFill>
            <a:srgbClr val="7B9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40946E1-4F6F-93A6-6E46-9B9B9CF2CE83}"/>
              </a:ext>
            </a:extLst>
          </p:cNvPr>
          <p:cNvCxnSpPr>
            <a:cxnSpLocks/>
          </p:cNvCxnSpPr>
          <p:nvPr userDrawn="1"/>
        </p:nvCxnSpPr>
        <p:spPr>
          <a:xfrm flipV="1">
            <a:off x="7592622" y="4042882"/>
            <a:ext cx="0" cy="841110"/>
          </a:xfrm>
          <a:prstGeom prst="line">
            <a:avLst/>
          </a:prstGeom>
          <a:ln w="22225">
            <a:solidFill>
              <a:srgbClr val="7B9B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6">
            <a:extLst>
              <a:ext uri="{FF2B5EF4-FFF2-40B4-BE49-F238E27FC236}">
                <a16:creationId xmlns:a16="http://schemas.microsoft.com/office/drawing/2014/main" id="{12B4F3C0-9B7E-221B-AE45-3E2A7DDF9DFC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>
            <a:off x="7780771" y="4334848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8174B6A-68D6-489D-7A4A-A95687CECFA6}"/>
              </a:ext>
            </a:extLst>
          </p:cNvPr>
          <p:cNvSpPr/>
          <p:nvPr userDrawn="1"/>
        </p:nvSpPr>
        <p:spPr>
          <a:xfrm>
            <a:off x="10053334" y="3962929"/>
            <a:ext cx="104902" cy="104902"/>
          </a:xfrm>
          <a:prstGeom prst="ellipse">
            <a:avLst/>
          </a:prstGeom>
          <a:solidFill>
            <a:srgbClr val="7B9B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D40BBAA-CEC9-039D-DAD4-EDCDD3637E4A}"/>
              </a:ext>
            </a:extLst>
          </p:cNvPr>
          <p:cNvCxnSpPr>
            <a:cxnSpLocks/>
          </p:cNvCxnSpPr>
          <p:nvPr userDrawn="1"/>
        </p:nvCxnSpPr>
        <p:spPr>
          <a:xfrm flipV="1">
            <a:off x="10105785" y="4042882"/>
            <a:ext cx="0" cy="841110"/>
          </a:xfrm>
          <a:prstGeom prst="line">
            <a:avLst/>
          </a:prstGeom>
          <a:ln w="22225">
            <a:solidFill>
              <a:srgbClr val="7B9B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6">
            <a:extLst>
              <a:ext uri="{FF2B5EF4-FFF2-40B4-BE49-F238E27FC236}">
                <a16:creationId xmlns:a16="http://schemas.microsoft.com/office/drawing/2014/main" id="{618074FA-A0FA-9F87-5BBB-CB827ACC5BCD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10293934" y="4334848"/>
            <a:ext cx="1728216" cy="215444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400" b="1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21411F2F-0DD4-7821-1524-2D8C061AE85D}"/>
              </a:ext>
            </a:extLst>
          </p:cNvPr>
          <p:cNvSpPr/>
          <p:nvPr userDrawn="1"/>
        </p:nvSpPr>
        <p:spPr>
          <a:xfrm>
            <a:off x="898525" y="2303239"/>
            <a:ext cx="813816" cy="813816"/>
          </a:xfrm>
          <a:prstGeom prst="ellipse">
            <a:avLst/>
          </a:prstGeom>
          <a:ln w="19050">
            <a:solidFill>
              <a:srgbClr val="6946E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A265B70-B920-2AFE-32C0-1075E622E1C0}"/>
              </a:ext>
            </a:extLst>
          </p:cNvPr>
          <p:cNvSpPr/>
          <p:nvPr userDrawn="1"/>
        </p:nvSpPr>
        <p:spPr>
          <a:xfrm>
            <a:off x="3407910" y="2303239"/>
            <a:ext cx="813816" cy="813816"/>
          </a:xfrm>
          <a:prstGeom prst="ellipse">
            <a:avLst/>
          </a:prstGeom>
          <a:ln w="19050">
            <a:solidFill>
              <a:srgbClr val="6946E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6597D014-EF44-2902-0162-B5CB621D6910}"/>
              </a:ext>
            </a:extLst>
          </p:cNvPr>
          <p:cNvSpPr/>
          <p:nvPr userDrawn="1"/>
        </p:nvSpPr>
        <p:spPr>
          <a:xfrm>
            <a:off x="5922510" y="2303239"/>
            <a:ext cx="813816" cy="813816"/>
          </a:xfrm>
          <a:prstGeom prst="ellipse">
            <a:avLst/>
          </a:prstGeom>
          <a:ln w="19050">
            <a:solidFill>
              <a:srgbClr val="6946E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DCF0A72-4A8B-1FC5-8746-1E48CD44FD39}"/>
              </a:ext>
            </a:extLst>
          </p:cNvPr>
          <p:cNvSpPr/>
          <p:nvPr userDrawn="1"/>
        </p:nvSpPr>
        <p:spPr>
          <a:xfrm>
            <a:off x="8437110" y="2303239"/>
            <a:ext cx="813816" cy="813816"/>
          </a:xfrm>
          <a:prstGeom prst="ellipse">
            <a:avLst/>
          </a:prstGeom>
          <a:ln w="19050">
            <a:solidFill>
              <a:srgbClr val="6946E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7905EB7-F675-E63C-2160-5506EB4655B9}"/>
              </a:ext>
            </a:extLst>
          </p:cNvPr>
          <p:cNvSpPr/>
          <p:nvPr userDrawn="1"/>
        </p:nvSpPr>
        <p:spPr>
          <a:xfrm>
            <a:off x="2160469" y="4883992"/>
            <a:ext cx="813816" cy="813816"/>
          </a:xfrm>
          <a:prstGeom prst="ellipse">
            <a:avLst/>
          </a:prstGeom>
          <a:ln w="19050">
            <a:solidFill>
              <a:srgbClr val="7B9BF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74FB5D49-B80F-FFDA-513B-4C1ED5149B1F}"/>
              </a:ext>
            </a:extLst>
          </p:cNvPr>
          <p:cNvSpPr/>
          <p:nvPr userDrawn="1"/>
        </p:nvSpPr>
        <p:spPr>
          <a:xfrm>
            <a:off x="4673631" y="4883992"/>
            <a:ext cx="813816" cy="813816"/>
          </a:xfrm>
          <a:prstGeom prst="ellipse">
            <a:avLst/>
          </a:prstGeom>
          <a:ln w="19050">
            <a:solidFill>
              <a:srgbClr val="7B9BF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6E91E3F3-A7F8-D884-5336-21840D007C94}"/>
              </a:ext>
            </a:extLst>
          </p:cNvPr>
          <p:cNvSpPr/>
          <p:nvPr userDrawn="1"/>
        </p:nvSpPr>
        <p:spPr>
          <a:xfrm>
            <a:off x="7186793" y="4883992"/>
            <a:ext cx="813816" cy="813816"/>
          </a:xfrm>
          <a:prstGeom prst="ellipse">
            <a:avLst/>
          </a:prstGeom>
          <a:ln w="19050">
            <a:solidFill>
              <a:srgbClr val="7B9BF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9AA0A25-6DE7-3641-38E5-10DFB476E24F}"/>
              </a:ext>
            </a:extLst>
          </p:cNvPr>
          <p:cNvSpPr/>
          <p:nvPr userDrawn="1"/>
        </p:nvSpPr>
        <p:spPr>
          <a:xfrm>
            <a:off x="9699956" y="4883992"/>
            <a:ext cx="813816" cy="813816"/>
          </a:xfrm>
          <a:prstGeom prst="ellipse">
            <a:avLst/>
          </a:prstGeom>
          <a:ln w="19050">
            <a:solidFill>
              <a:srgbClr val="7B9BFF"/>
            </a:solidFill>
          </a:ln>
        </p:spPr>
        <p:txBody>
          <a:bodyPr vert="horz" lIns="0" tIns="45720" rIns="0" bIns="45720" rtlCol="0" anchor="ctr" anchorCtr="0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 sz="1400"/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7A100701-AB40-F730-9928-720933A8BB1E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1103463" y="2508177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2" name="Picture Placeholder 5">
            <a:extLst>
              <a:ext uri="{FF2B5EF4-FFF2-40B4-BE49-F238E27FC236}">
                <a16:creationId xmlns:a16="http://schemas.microsoft.com/office/drawing/2014/main" id="{6D43CCB7-7824-4477-C0DF-CD37F6AC8C8F}"/>
              </a:ext>
            </a:extLst>
          </p:cNvPr>
          <p:cNvSpPr>
            <a:spLocks noGrp="1"/>
          </p:cNvSpPr>
          <p:nvPr>
            <p:ph type="pic" sz="quarter" idx="94" hasCustomPrompt="1"/>
          </p:nvPr>
        </p:nvSpPr>
        <p:spPr>
          <a:xfrm>
            <a:off x="3612848" y="2508177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2BA28B33-6F3C-0229-4CEA-65F08A450740}"/>
              </a:ext>
            </a:extLst>
          </p:cNvPr>
          <p:cNvSpPr>
            <a:spLocks noGrp="1"/>
          </p:cNvSpPr>
          <p:nvPr>
            <p:ph type="pic" sz="quarter" idx="95" hasCustomPrompt="1"/>
          </p:nvPr>
        </p:nvSpPr>
        <p:spPr>
          <a:xfrm>
            <a:off x="6131717" y="2508177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4" name="Picture Placeholder 5">
            <a:extLst>
              <a:ext uri="{FF2B5EF4-FFF2-40B4-BE49-F238E27FC236}">
                <a16:creationId xmlns:a16="http://schemas.microsoft.com/office/drawing/2014/main" id="{42A1E1FE-E5A3-5BE8-9772-482DCC53322D}"/>
              </a:ext>
            </a:extLst>
          </p:cNvPr>
          <p:cNvSpPr>
            <a:spLocks noGrp="1"/>
          </p:cNvSpPr>
          <p:nvPr>
            <p:ph type="pic" sz="quarter" idx="96" hasCustomPrompt="1"/>
          </p:nvPr>
        </p:nvSpPr>
        <p:spPr>
          <a:xfrm>
            <a:off x="8642048" y="2508177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5" name="Picture Placeholder 5">
            <a:extLst>
              <a:ext uri="{FF2B5EF4-FFF2-40B4-BE49-F238E27FC236}">
                <a16:creationId xmlns:a16="http://schemas.microsoft.com/office/drawing/2014/main" id="{AC80D69B-934D-3A48-904A-028FE9E3D36F}"/>
              </a:ext>
            </a:extLst>
          </p:cNvPr>
          <p:cNvSpPr>
            <a:spLocks noGrp="1"/>
          </p:cNvSpPr>
          <p:nvPr>
            <p:ph type="pic" sz="quarter" idx="97" hasCustomPrompt="1"/>
          </p:nvPr>
        </p:nvSpPr>
        <p:spPr>
          <a:xfrm>
            <a:off x="2365407" y="5088930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6" name="Picture Placeholder 5">
            <a:extLst>
              <a:ext uri="{FF2B5EF4-FFF2-40B4-BE49-F238E27FC236}">
                <a16:creationId xmlns:a16="http://schemas.microsoft.com/office/drawing/2014/main" id="{9827D0EA-7BB9-91F5-A85C-E84945A91E75}"/>
              </a:ext>
            </a:extLst>
          </p:cNvPr>
          <p:cNvSpPr>
            <a:spLocks noGrp="1"/>
          </p:cNvSpPr>
          <p:nvPr>
            <p:ph type="pic" sz="quarter" idx="98" hasCustomPrompt="1"/>
          </p:nvPr>
        </p:nvSpPr>
        <p:spPr>
          <a:xfrm>
            <a:off x="4878569" y="5088930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7" name="Picture Placeholder 5">
            <a:extLst>
              <a:ext uri="{FF2B5EF4-FFF2-40B4-BE49-F238E27FC236}">
                <a16:creationId xmlns:a16="http://schemas.microsoft.com/office/drawing/2014/main" id="{5A129B12-0028-4CF0-AFF3-452C8648765F}"/>
              </a:ext>
            </a:extLst>
          </p:cNvPr>
          <p:cNvSpPr>
            <a:spLocks noGrp="1"/>
          </p:cNvSpPr>
          <p:nvPr>
            <p:ph type="pic" sz="quarter" idx="99" hasCustomPrompt="1"/>
          </p:nvPr>
        </p:nvSpPr>
        <p:spPr>
          <a:xfrm>
            <a:off x="7391731" y="5088930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58" name="Picture Placeholder 5">
            <a:extLst>
              <a:ext uri="{FF2B5EF4-FFF2-40B4-BE49-F238E27FC236}">
                <a16:creationId xmlns:a16="http://schemas.microsoft.com/office/drawing/2014/main" id="{9AB29C06-7EBF-6947-F0C9-F87DF65AFBE3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9904894" y="5088930"/>
            <a:ext cx="403940" cy="403940"/>
          </a:xfrm>
          <a:noFill/>
        </p:spPr>
        <p:txBody>
          <a:bodyPr/>
          <a:lstStyle>
            <a:lvl1pPr>
              <a:defRPr sz="1050"/>
            </a:lvl1pPr>
          </a:lstStyle>
          <a:p>
            <a:r>
              <a:rPr lang="en-US"/>
              <a:t>Insert icon</a:t>
            </a:r>
          </a:p>
        </p:txBody>
      </p:sp>
    </p:spTree>
    <p:extLst>
      <p:ext uri="{BB962C8B-B14F-4D97-AF65-F5344CB8AC3E}">
        <p14:creationId xmlns:p14="http://schemas.microsoft.com/office/powerpoint/2010/main" val="40872421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p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2522754-05FF-A483-2262-26B3885C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499" y="1058837"/>
            <a:ext cx="3319272" cy="1421928"/>
          </a:xfrm>
        </p:spPr>
        <p:txBody>
          <a:bodyPr>
            <a:no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6A428BE-AC5F-A6FE-9D22-84754FB881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536905" y="265011"/>
            <a:ext cx="2324101" cy="30648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spc="27">
                <a:solidFill>
                  <a:schemeClr val="tx1"/>
                </a:solidFill>
                <a:latin typeface="+mj-lt"/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DECK TITLE HERE</a:t>
            </a:r>
          </a:p>
        </p:txBody>
      </p:sp>
      <p:sp>
        <p:nvSpPr>
          <p:cNvPr id="5" name="Picture Placeholder 23">
            <a:extLst>
              <a:ext uri="{FF2B5EF4-FFF2-40B4-BE49-F238E27FC236}">
                <a16:creationId xmlns:a16="http://schemas.microsoft.com/office/drawing/2014/main" id="{991D93CF-C815-70CC-4AA5-D2C6A2DD456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9725" y="338753"/>
            <a:ext cx="960120" cy="146304"/>
          </a:xfrm>
          <a:noFill/>
        </p:spPr>
        <p:txBody>
          <a:bodyPr anchor="ctr"/>
          <a:lstStyle>
            <a:lvl1pPr algn="ctr">
              <a:defRPr sz="1050">
                <a:solidFill>
                  <a:schemeClr val="tx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E66A6EA0-75FA-71AF-51C9-1252A021C08C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587499" y="2669320"/>
            <a:ext cx="3319272" cy="246221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600" b="1">
                <a:solidFill>
                  <a:srgbClr val="003079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43A69FA9-466B-74C6-88EB-D8FAA89A3047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587498" y="3029185"/>
            <a:ext cx="3319272" cy="777705"/>
          </a:xfrm>
        </p:spPr>
        <p:txBody>
          <a:bodyPr tIns="0" bIns="0" anchor="t">
            <a:no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03079"/>
              </a:buClr>
              <a:buSzPct val="175000"/>
              <a:buFont typeface="Arial" panose="020B0604020202020204" pitchFamily="34" charset="0"/>
              <a:buChar char="●"/>
              <a:defRPr sz="11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42B8A185-02CA-E10C-DE66-58A74095979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1587499" y="3950722"/>
            <a:ext cx="3319272" cy="246221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600" b="1">
                <a:solidFill>
                  <a:srgbClr val="6CBDF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375E91D9-D717-C0A7-2C3C-875E8603B358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587498" y="4310587"/>
            <a:ext cx="3319272" cy="777705"/>
          </a:xfrm>
        </p:spPr>
        <p:txBody>
          <a:bodyPr tIns="0" bIns="0" anchor="t">
            <a:no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6CBDF1"/>
              </a:buClr>
              <a:buSzPct val="175000"/>
              <a:buFont typeface="Arial" panose="020B0604020202020204" pitchFamily="34" charset="0"/>
              <a:buChar char="●"/>
              <a:defRPr sz="11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2B4CE37A-3A1F-93B1-7534-9EE9B12C9529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587499" y="5232127"/>
            <a:ext cx="3319272" cy="246221"/>
          </a:xfr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600" b="1">
                <a:solidFill>
                  <a:srgbClr val="7C5AE8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502BFCD4-2994-2F3B-A1D0-212B59401082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1587498" y="5591993"/>
            <a:ext cx="3319272" cy="656408"/>
          </a:xfrm>
        </p:spPr>
        <p:txBody>
          <a:bodyPr tIns="0" bIns="0" anchor="t">
            <a:no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7C5AE8"/>
              </a:buClr>
              <a:buSzPct val="175000"/>
              <a:buFont typeface="Arial" panose="020B0604020202020204" pitchFamily="34" charset="0"/>
              <a:buChar char="●"/>
              <a:defRPr sz="1100" b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1000"/>
              </a:spcBef>
              <a:buNone/>
              <a:defRPr sz="1100"/>
            </a:lvl2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244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656A6DF-A10D-326D-E6BD-06EE8366E1F3}"/>
              </a:ext>
            </a:extLst>
          </p:cNvPr>
          <p:cNvSpPr/>
          <p:nvPr userDrawn="1"/>
        </p:nvSpPr>
        <p:spPr>
          <a:xfrm>
            <a:off x="5605313" y="0"/>
            <a:ext cx="6586687" cy="6858000"/>
          </a:xfrm>
          <a:custGeom>
            <a:avLst/>
            <a:gdLst>
              <a:gd name="connsiteX0" fmla="*/ 3344303 w 6586687"/>
              <a:gd name="connsiteY0" fmla="*/ 0 h 6858000"/>
              <a:gd name="connsiteX1" fmla="*/ 6586687 w 6586687"/>
              <a:gd name="connsiteY1" fmla="*/ 0 h 6858000"/>
              <a:gd name="connsiteX2" fmla="*/ 6586687 w 6586687"/>
              <a:gd name="connsiteY2" fmla="*/ 2702758 h 6858000"/>
              <a:gd name="connsiteX3" fmla="*/ 4560384 w 6586687"/>
              <a:gd name="connsiteY3" fmla="*/ 6858000 h 6858000"/>
              <a:gd name="connsiteX4" fmla="*/ 0 w 658668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6687" h="6858000">
                <a:moveTo>
                  <a:pt x="3344303" y="0"/>
                </a:moveTo>
                <a:lnTo>
                  <a:pt x="6586687" y="0"/>
                </a:lnTo>
                <a:lnTo>
                  <a:pt x="6586687" y="2702758"/>
                </a:lnTo>
                <a:lnTo>
                  <a:pt x="456038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8900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DA5531-B54A-BADD-9A63-1E0BC53B5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686637"/>
            <a:ext cx="6253843" cy="170636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6600" spc="147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ct val="83690"/>
              </a:lnSpc>
            </a:pPr>
            <a:r>
              <a:rPr lang="en-US"/>
              <a:t>Click to edit Master 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35E40065-98C5-A52A-DBEB-15BE48B0EF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5300" y="369888"/>
            <a:ext cx="2062843" cy="500969"/>
          </a:xfrm>
          <a:noFill/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7813A63A-57E2-F517-0835-9DF2D6BD0578}"/>
              </a:ext>
            </a:extLst>
          </p:cNvPr>
          <p:cNvSpPr txBox="1">
            <a:spLocks/>
          </p:cNvSpPr>
          <p:nvPr userDrawn="1"/>
        </p:nvSpPr>
        <p:spPr>
          <a:xfrm>
            <a:off x="495300" y="6208782"/>
            <a:ext cx="1828800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9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5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Levata </a:t>
            </a:r>
            <a:r>
              <a:rPr lang="en-GB" sz="1100" b="0" i="0">
                <a:solidFill>
                  <a:schemeClr val="bg1"/>
                </a:solidFill>
                <a:effectLst/>
                <a:latin typeface="+mn-lt"/>
              </a:rPr>
              <a:t>©</a:t>
            </a:r>
            <a:r>
              <a:rPr lang="en-GB" sz="1100" b="0" i="0">
                <a:solidFill>
                  <a:schemeClr val="bg1"/>
                </a:solidFill>
                <a:effectLst/>
                <a:latin typeface="Google Sans"/>
              </a:rPr>
              <a:t> </a:t>
            </a:r>
            <a:r>
              <a:rPr lang="en-US" sz="1100">
                <a:solidFill>
                  <a:schemeClr val="bg1"/>
                </a:solidFill>
              </a:rPr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725007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6989E7-C009-E84C-912A-C20DDD3107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796D8F-9E69-0D4E-A3A5-AD73AA764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4A7EA8-D90F-7244-B1D2-CE98693C05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611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656A6DF-A10D-326D-E6BD-06EE8366E1F3}"/>
              </a:ext>
            </a:extLst>
          </p:cNvPr>
          <p:cNvSpPr/>
          <p:nvPr userDrawn="1"/>
        </p:nvSpPr>
        <p:spPr>
          <a:xfrm>
            <a:off x="5605313" y="0"/>
            <a:ext cx="6586687" cy="6858000"/>
          </a:xfrm>
          <a:custGeom>
            <a:avLst/>
            <a:gdLst>
              <a:gd name="connsiteX0" fmla="*/ 3344303 w 6586687"/>
              <a:gd name="connsiteY0" fmla="*/ 0 h 6858000"/>
              <a:gd name="connsiteX1" fmla="*/ 6586687 w 6586687"/>
              <a:gd name="connsiteY1" fmla="*/ 0 h 6858000"/>
              <a:gd name="connsiteX2" fmla="*/ 6586687 w 6586687"/>
              <a:gd name="connsiteY2" fmla="*/ 2702758 h 6858000"/>
              <a:gd name="connsiteX3" fmla="*/ 4560384 w 6586687"/>
              <a:gd name="connsiteY3" fmla="*/ 6858000 h 6858000"/>
              <a:gd name="connsiteX4" fmla="*/ 0 w 6586687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6687" h="6858000">
                <a:moveTo>
                  <a:pt x="3344303" y="0"/>
                </a:moveTo>
                <a:lnTo>
                  <a:pt x="6586687" y="0"/>
                </a:lnTo>
                <a:lnTo>
                  <a:pt x="6586687" y="2702758"/>
                </a:lnTo>
                <a:lnTo>
                  <a:pt x="456038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DA5531-B54A-BADD-9A63-1E0BC53B5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686637"/>
            <a:ext cx="6253843" cy="170636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6600" spc="147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83690"/>
              </a:lnSpc>
            </a:pPr>
            <a:r>
              <a:rPr lang="en-US"/>
              <a:t>Click to edit Master title</a:t>
            </a:r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35E40065-98C5-A52A-DBEB-15BE48B0EF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5300" y="369888"/>
            <a:ext cx="2062843" cy="500969"/>
          </a:xfrm>
          <a:noFill/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Logo</a:t>
            </a:r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7813A63A-57E2-F517-0835-9DF2D6BD0578}"/>
              </a:ext>
            </a:extLst>
          </p:cNvPr>
          <p:cNvSpPr txBox="1">
            <a:spLocks/>
          </p:cNvSpPr>
          <p:nvPr userDrawn="1"/>
        </p:nvSpPr>
        <p:spPr>
          <a:xfrm>
            <a:off x="495300" y="6208782"/>
            <a:ext cx="1828800" cy="1692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9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5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LOREM 2023</a:t>
            </a:r>
          </a:p>
        </p:txBody>
      </p:sp>
    </p:spTree>
    <p:extLst>
      <p:ext uri="{BB962C8B-B14F-4D97-AF65-F5344CB8AC3E}">
        <p14:creationId xmlns:p14="http://schemas.microsoft.com/office/powerpoint/2010/main" val="36771634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5031042-5226-67D6-9DA9-2276BB11FE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48128" y="2564892"/>
            <a:ext cx="7095744" cy="172821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2414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12136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ackground Im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B86817-5BE4-4C4B-A203-FAF4673C8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EC34A5-72CF-864B-91C7-85776EF7C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929E7-FBE6-F144-AF8F-385B1657B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2B1188-59AC-0C45-86AB-A4CA6D3959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73" y="0"/>
            <a:ext cx="12286666" cy="6858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CD54613-F079-7D43-A2C6-6EC338D4B9CF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54D4BEC-50A5-2740-8866-5711479ED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433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DFCD7BE0-E53D-A24D-A7FA-CD98E47369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7639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ackground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2491456A-124C-3845-B3DD-B654267EB2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028"/>
            <a:ext cx="12203385" cy="685800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419D95-E91A-48FD-B384-3424A2D3A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68C2D-1E10-4518-AD9E-65DE9A9C4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A7F0F-1E82-467E-95A1-0B9C6DFF2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E99861-8243-1847-B99A-191E3BAD896A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3E727E6-9517-7D4B-8E0E-5C21C875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433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28FABC-25CB-AC42-8A12-7EC31EACFB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95428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with Background Imag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wo people looking at a piece of paper&#10;&#10;Description automatically generated with medium confidence">
            <a:extLst>
              <a:ext uri="{FF2B5EF4-FFF2-40B4-BE49-F238E27FC236}">
                <a16:creationId xmlns:a16="http://schemas.microsoft.com/office/drawing/2014/main" id="{DBCD6BCC-9782-014E-AE46-D540E6288C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178443-E740-ED40-8F21-433A33952DAC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6C5C8A9-EBA4-8C47-8396-563326584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736C01-1AC6-9B47-AFDF-353B496D41C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02686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F4AA03-4482-EE4E-A028-4E17C2D89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36510-055A-8049-9527-A48464D79E44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579630-660B-8547-88D7-B2DF00D74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7D4656-9892-3F41-AE5C-EA842F469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94BD7E-36D9-1743-B9BE-F54728AF42F2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338339-760A-8645-A637-5F126FA8F6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5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6096001" cy="6858000"/>
          </a:xfrm>
          <a:prstGeom prst="rect">
            <a:avLst/>
          </a:prstGeom>
        </p:spPr>
      </p:pic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4519780C-239C-E652-A813-CE76E65D62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821" y="292047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7998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C696E60-0D9D-634E-B82A-C3BD47E66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9FD86E-2924-BE41-A6EB-8225E0ECF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F56E32-E700-BB49-9C47-D991DB716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0EDF74-A32B-9D42-A3CE-E3ACAE1174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5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955040"/>
            <a:ext cx="12203385" cy="1902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7BDB30B-04A3-004A-9B2E-5C9533D1D26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999374" y="287020"/>
            <a:ext cx="1833560" cy="33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13314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V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2491456A-124C-3845-B3DD-B654267EB2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029"/>
            <a:ext cx="12203385" cy="6976265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419D95-E91A-48FD-B384-3424A2D3A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68C2D-1E10-4518-AD9E-65DE9A9C4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A7F0F-1E82-467E-95A1-0B9C6DFF2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E99861-8243-1847-B99A-191E3BAD896A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3E727E6-9517-7D4B-8E0E-5C21C875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28FABC-25CB-AC42-8A12-7EC31EACFB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6842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nageV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CF3473A-433A-0847-B209-845AEB9953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47" y="0"/>
            <a:ext cx="12319094" cy="685800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419D95-E91A-48FD-B384-3424A2D3A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400C1-8900-446F-BBC0-F551CBD4229B}" type="datetimeFigureOut">
              <a:rPr lang="en-US" smtClean="0"/>
              <a:t>5/2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68C2D-1E10-4518-AD9E-65DE9A9C4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DA7F0F-1E82-467E-95A1-0B9C6DFF2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9D3802-60F2-4172-84F2-3C86D0244DAF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8E99861-8243-1847-B99A-191E3BAD896A}"/>
              </a:ext>
            </a:extLst>
          </p:cNvPr>
          <p:cNvCxnSpPr>
            <a:cxnSpLocks/>
          </p:cNvCxnSpPr>
          <p:nvPr userDrawn="1"/>
        </p:nvCxnSpPr>
        <p:spPr>
          <a:xfrm>
            <a:off x="389255" y="1160692"/>
            <a:ext cx="1998345" cy="0"/>
          </a:xfrm>
          <a:prstGeom prst="line">
            <a:avLst/>
          </a:prstGeom>
          <a:ln w="57150">
            <a:solidFill>
              <a:srgbClr val="F687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3E727E6-9517-7D4B-8E0E-5C21C875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504557"/>
            <a:ext cx="7700294" cy="5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28FABC-25CB-AC42-8A12-7EC31EACFB6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213" y="289932"/>
            <a:ext cx="1849453" cy="351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980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slideLayout" Target="../slideLayouts/slideLayout82.xml"/><Relationship Id="rId47" Type="http://schemas.openxmlformats.org/officeDocument/2006/relationships/slideLayout" Target="../slideLayouts/slideLayout87.xml"/><Relationship Id="rId50" Type="http://schemas.openxmlformats.org/officeDocument/2006/relationships/slideLayout" Target="../slideLayouts/slideLayout90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slideLayout" Target="../slideLayouts/slideLayout85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4" Type="http://schemas.openxmlformats.org/officeDocument/2006/relationships/slideLayout" Target="../slideLayouts/slideLayout84.xml"/><Relationship Id="rId52" Type="http://schemas.openxmlformats.org/officeDocument/2006/relationships/slideLayout" Target="../slideLayouts/slideLayout92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slideLayout" Target="../slideLayouts/slideLayout83.xml"/><Relationship Id="rId48" Type="http://schemas.openxmlformats.org/officeDocument/2006/relationships/slideLayout" Target="../slideLayouts/slideLayout88.xml"/><Relationship Id="rId8" Type="http://schemas.openxmlformats.org/officeDocument/2006/relationships/slideLayout" Target="../slideLayouts/slideLayout48.xml"/><Relationship Id="rId51" Type="http://schemas.openxmlformats.org/officeDocument/2006/relationships/slideLayout" Target="../slideLayouts/slideLayout91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4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60.xml"/><Relationship Id="rId41" Type="http://schemas.openxmlformats.org/officeDocument/2006/relationships/slideLayout" Target="../slideLayouts/slideLayout81.xml"/><Relationship Id="rId54" Type="http://schemas.openxmlformats.org/officeDocument/2006/relationships/image" Target="../media/image9.pn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49" Type="http://schemas.openxmlformats.org/officeDocument/2006/relationships/slideLayout" Target="../slideLayouts/slideLayout8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slideLayout" Target="../slideLayouts/slideLayout155.xml"/><Relationship Id="rId39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50.xml"/><Relationship Id="rId34" Type="http://schemas.openxmlformats.org/officeDocument/2006/relationships/slideLayout" Target="../slideLayouts/slideLayout163.xml"/><Relationship Id="rId42" Type="http://schemas.openxmlformats.org/officeDocument/2006/relationships/theme" Target="../theme/theme6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0" Type="http://schemas.openxmlformats.org/officeDocument/2006/relationships/slideLayout" Target="../slideLayouts/slideLayout149.xml"/><Relationship Id="rId29" Type="http://schemas.openxmlformats.org/officeDocument/2006/relationships/slideLayout" Target="../slideLayouts/slideLayout158.xml"/><Relationship Id="rId41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slideLayout" Target="../slideLayouts/slideLayout166.xml"/><Relationship Id="rId40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31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43" Type="http://schemas.openxmlformats.org/officeDocument/2006/relationships/image" Target="../media/image44.png"/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38" Type="http://schemas.openxmlformats.org/officeDocument/2006/relationships/slideLayout" Target="../slideLayouts/slideLayout1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517050-49B9-6241-BF6D-75835EDC11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09200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517050-49B9-6241-BF6D-75835EDC1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2BE255-51C3-C940-A252-DC1918967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142E2D-149D-E04C-ABAE-2303AD7925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F91A9E-29B4-FF4B-91B8-EAD86FE8CC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1DA493-CD77-7444-B38E-9F35834C6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8C7EB-4CAC-0E43-B46B-409437188A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173F5-6432-465E-A768-2F9DE2D8ED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96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759" r:id="rId7"/>
    <p:sldLayoutId id="2147483760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1B57E9-413F-A843-8D5A-C30BDD14D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00FF6-29A0-7346-945A-3A21DC5AB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C55C18-4424-BF4B-B622-CB3DB1CAD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5A5D8F-2799-9F43-BFF5-EEFD10539DFF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F5974-3D6F-9941-9C64-A45DF07070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C4D40-ADBA-674C-853A-332041FCF1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DEE12C-2502-C844-8004-25D58B1B0D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83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F60E7FD-2127-9C8C-AD2A-155BC923CAC4}"/>
              </a:ext>
            </a:extLst>
          </p:cNvPr>
          <p:cNvSpPr/>
          <p:nvPr userDrawn="1"/>
        </p:nvSpPr>
        <p:spPr>
          <a:xfrm>
            <a:off x="11408568" y="6397083"/>
            <a:ext cx="457201" cy="183755"/>
          </a:xfrm>
          <a:prstGeom prst="rect">
            <a:avLst/>
          </a:prstGeom>
          <a:noFill/>
          <a:ln w="635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spc="3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‒ </a:t>
            </a:r>
            <a:fld id="{614C2AB7-8B7E-4D21-B69D-DAA330410392}" type="slidenum">
              <a:rPr lang="en-US" sz="1050" spc="30" smtClean="0">
                <a:solidFill>
                  <a:schemeClr val="tx1"/>
                </a:solidFill>
                <a:latin typeface="+mn-lt"/>
              </a:rPr>
              <a:t>‹#›</a:t>
            </a:fld>
            <a:endParaRPr lang="en-US" sz="1050" spc="3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9BBA240D-138D-8D4A-4A6C-8742745EF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lvl="0"/>
            <a:r>
              <a:rPr lang="en-US"/>
              <a:t>Lorem Ipsum Title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7635EF-1F89-5BFF-56EC-1CCBCE85F1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7500" y="3797300"/>
            <a:ext cx="9029700" cy="2407103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Graphic 6">
            <a:extLst>
              <a:ext uri="{FF2B5EF4-FFF2-40B4-BE49-F238E27FC236}">
                <a16:creationId xmlns:a16="http://schemas.microsoft.com/office/drawing/2014/main" id="{59936FDA-EAE4-654A-9AD1-7EA58A3F6E9F}"/>
              </a:ext>
            </a:extLst>
          </p:cNvPr>
          <p:cNvPicPr>
            <a:picLocks noChangeAspect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498" y="336028"/>
            <a:ext cx="963046" cy="148948"/>
          </a:xfrm>
          <a:custGeom>
            <a:avLst/>
            <a:gdLst>
              <a:gd name="connsiteX0" fmla="*/ -594 w 3575304"/>
              <a:gd name="connsiteY0" fmla="*/ -92 h 553211"/>
              <a:gd name="connsiteX1" fmla="*/ 3574710 w 3575304"/>
              <a:gd name="connsiteY1" fmla="*/ -92 h 553211"/>
              <a:gd name="connsiteX2" fmla="*/ 3574710 w 3575304"/>
              <a:gd name="connsiteY2" fmla="*/ 553120 h 553211"/>
              <a:gd name="connsiteX3" fmla="*/ -594 w 3575304"/>
              <a:gd name="connsiteY3" fmla="*/ 553120 h 55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5304" h="553211">
                <a:moveTo>
                  <a:pt x="-594" y="-92"/>
                </a:moveTo>
                <a:lnTo>
                  <a:pt x="3574710" y="-92"/>
                </a:lnTo>
                <a:lnTo>
                  <a:pt x="3574710" y="553120"/>
                </a:lnTo>
                <a:lnTo>
                  <a:pt x="-594" y="553120"/>
                </a:lnTo>
                <a:close/>
              </a:path>
            </a:pathLst>
          </a:custGeom>
        </p:spPr>
      </p:pic>
      <p:sp>
        <p:nvSpPr>
          <p:cNvPr id="17" name="Text Placeholder 30">
            <a:extLst>
              <a:ext uri="{FF2B5EF4-FFF2-40B4-BE49-F238E27FC236}">
                <a16:creationId xmlns:a16="http://schemas.microsoft.com/office/drawing/2014/main" id="{2D1460B6-511B-27D4-7FB1-7A15F180767B}"/>
              </a:ext>
            </a:extLst>
          </p:cNvPr>
          <p:cNvSpPr txBox="1">
            <a:spLocks/>
          </p:cNvSpPr>
          <p:nvPr userDrawn="1"/>
        </p:nvSpPr>
        <p:spPr>
          <a:xfrm>
            <a:off x="339498" y="6397520"/>
            <a:ext cx="1984602" cy="1828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9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5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3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Statement 2023</a:t>
            </a:r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078747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7" r:id="rId31"/>
    <p:sldLayoutId id="2147483838" r:id="rId32"/>
    <p:sldLayoutId id="2147483839" r:id="rId33"/>
    <p:sldLayoutId id="2147483840" r:id="rId34"/>
    <p:sldLayoutId id="2147483841" r:id="rId35"/>
    <p:sldLayoutId id="2147483842" r:id="rId36"/>
    <p:sldLayoutId id="2147483843" r:id="rId37"/>
    <p:sldLayoutId id="2147483844" r:id="rId38"/>
    <p:sldLayoutId id="2147483845" r:id="rId39"/>
    <p:sldLayoutId id="2147483846" r:id="rId40"/>
    <p:sldLayoutId id="2147483847" r:id="rId41"/>
    <p:sldLayoutId id="2147483848" r:id="rId42"/>
    <p:sldLayoutId id="2147483849" r:id="rId43"/>
    <p:sldLayoutId id="2147483850" r:id="rId44"/>
    <p:sldLayoutId id="2147483851" r:id="rId45"/>
    <p:sldLayoutId id="2147483852" r:id="rId46"/>
    <p:sldLayoutId id="2147483853" r:id="rId47"/>
    <p:sldLayoutId id="2147483854" r:id="rId48"/>
    <p:sldLayoutId id="2147483855" r:id="rId49"/>
    <p:sldLayoutId id="2147483856" r:id="rId50"/>
    <p:sldLayoutId id="2147483857" r:id="rId51"/>
    <p:sldLayoutId id="2147483858" r:id="rId5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982">
          <p15:clr>
            <a:srgbClr val="F26B43"/>
          </p15:clr>
        </p15:guide>
        <p15:guide id="4" pos="6698">
          <p15:clr>
            <a:srgbClr val="F26B43"/>
          </p15:clr>
        </p15:guide>
        <p15:guide id="5" orient="horz" pos="731">
          <p15:clr>
            <a:srgbClr val="F26B43"/>
          </p15:clr>
        </p15:guide>
        <p15:guide id="6" orient="horz" pos="3936">
          <p15:clr>
            <a:srgbClr val="F26B43"/>
          </p15:clr>
        </p15:guide>
        <p15:guide id="7" pos="302">
          <p15:clr>
            <a:srgbClr val="F26B43"/>
          </p15:clr>
        </p15:guide>
        <p15:guide id="8" pos="737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1B57E9-413F-A843-8D5A-C30BDD14D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800FF6-29A0-7346-945A-3A21DC5AB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C55C18-4424-BF4B-B622-CB3DB1CAD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5A5D8F-2799-9F43-BFF5-EEFD10539DFF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F5974-3D6F-9941-9C64-A45DF07070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C4D40-ADBA-674C-853A-332041FCF1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DEE12C-2502-C844-8004-25D58B1B0D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286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  <p:sldLayoutId id="2147483879" r:id="rId17"/>
    <p:sldLayoutId id="2147483880" r:id="rId18"/>
    <p:sldLayoutId id="2147483881" r:id="rId19"/>
    <p:sldLayoutId id="2147483882" r:id="rId20"/>
    <p:sldLayoutId id="2147483883" r:id="rId21"/>
    <p:sldLayoutId id="2147483884" r:id="rId22"/>
    <p:sldLayoutId id="2147483885" r:id="rId23"/>
    <p:sldLayoutId id="2147483886" r:id="rId24"/>
    <p:sldLayoutId id="2147483887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2BE255-51C3-C940-A252-DC1918967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142E2D-149D-E04C-ABAE-2303AD7925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F91A9E-29B4-FF4B-91B8-EAD86FE8CC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CBDA4E-ADAF-416E-AB7C-F9C25595DA36}" type="datetimeFigureOut">
              <a:rPr lang="en-US" smtClean="0"/>
              <a:t>5/2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1DA493-CD77-7444-B38E-9F35834C6A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8C7EB-4CAC-0E43-B46B-409437188A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173F5-6432-465E-A768-2F9DE2D8ED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06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4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F60E7FD-2127-9C8C-AD2A-155BC923CAC4}"/>
              </a:ext>
            </a:extLst>
          </p:cNvPr>
          <p:cNvSpPr/>
          <p:nvPr userDrawn="1"/>
        </p:nvSpPr>
        <p:spPr>
          <a:xfrm>
            <a:off x="11408568" y="6397083"/>
            <a:ext cx="457201" cy="183755"/>
          </a:xfrm>
          <a:prstGeom prst="rect">
            <a:avLst/>
          </a:prstGeom>
          <a:noFill/>
          <a:ln w="635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50" spc="3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‒ </a:t>
            </a:r>
            <a:fld id="{614C2AB7-8B7E-4D21-B69D-DAA330410392}" type="slidenum">
              <a:rPr lang="en-US" sz="1050" spc="30" smtClean="0">
                <a:solidFill>
                  <a:schemeClr val="tx1"/>
                </a:solidFill>
                <a:latin typeface="+mn-lt"/>
              </a:rPr>
              <a:t>‹#›</a:t>
            </a:fld>
            <a:endParaRPr lang="en-US" sz="1050" spc="3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itle Placeholder 11">
            <a:extLst>
              <a:ext uri="{FF2B5EF4-FFF2-40B4-BE49-F238E27FC236}">
                <a16:creationId xmlns:a16="http://schemas.microsoft.com/office/drawing/2014/main" id="{9BBA240D-138D-8D4A-4A6C-8742745EF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0" y="1382370"/>
            <a:ext cx="9029700" cy="670011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0" lvl="0"/>
            <a:r>
              <a:rPr lang="en-US"/>
              <a:t>Lorem Ipsum Title Tex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7635EF-1F89-5BFF-56EC-1CCBCE85F1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7500" y="3797300"/>
            <a:ext cx="9029700" cy="2407103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 descr="A purple letters on a black background&#10;&#10;Description automatically generated">
            <a:extLst>
              <a:ext uri="{FF2B5EF4-FFF2-40B4-BE49-F238E27FC236}">
                <a16:creationId xmlns:a16="http://schemas.microsoft.com/office/drawing/2014/main" id="{C916E060-29E7-CC1D-E09A-98C57E60B6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725" y="277600"/>
            <a:ext cx="960120" cy="223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304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  <p:sldLayoutId id="2147483914" r:id="rId13"/>
    <p:sldLayoutId id="2147483915" r:id="rId14"/>
    <p:sldLayoutId id="2147483916" r:id="rId15"/>
    <p:sldLayoutId id="2147483917" r:id="rId16"/>
    <p:sldLayoutId id="2147483918" r:id="rId17"/>
    <p:sldLayoutId id="2147483919" r:id="rId18"/>
    <p:sldLayoutId id="2147483920" r:id="rId19"/>
    <p:sldLayoutId id="2147483921" r:id="rId20"/>
    <p:sldLayoutId id="2147483922" r:id="rId21"/>
    <p:sldLayoutId id="2147483923" r:id="rId22"/>
    <p:sldLayoutId id="2147483924" r:id="rId23"/>
    <p:sldLayoutId id="2147483925" r:id="rId24"/>
    <p:sldLayoutId id="2147483926" r:id="rId25"/>
    <p:sldLayoutId id="2147483927" r:id="rId26"/>
    <p:sldLayoutId id="2147483928" r:id="rId27"/>
    <p:sldLayoutId id="2147483929" r:id="rId28"/>
    <p:sldLayoutId id="2147483930" r:id="rId29"/>
    <p:sldLayoutId id="2147483931" r:id="rId30"/>
    <p:sldLayoutId id="2147483932" r:id="rId31"/>
    <p:sldLayoutId id="2147483933" r:id="rId32"/>
    <p:sldLayoutId id="2147483934" r:id="rId33"/>
    <p:sldLayoutId id="2147483935" r:id="rId34"/>
    <p:sldLayoutId id="2147483936" r:id="rId35"/>
    <p:sldLayoutId id="2147483937" r:id="rId36"/>
    <p:sldLayoutId id="2147483938" r:id="rId37"/>
    <p:sldLayoutId id="2147483939" r:id="rId38"/>
    <p:sldLayoutId id="2147483940" r:id="rId39"/>
    <p:sldLayoutId id="2147483941" r:id="rId40"/>
    <p:sldLayoutId id="2147483942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8288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90000"/>
        </a:lnSpc>
        <a:spcBef>
          <a:spcPts val="500"/>
        </a:spcBef>
        <a:buFont typeface="Wingdings 2" panose="05020102010507070707" pitchFamily="18" charset="2"/>
        <a:buChar char="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6">
          <p15:clr>
            <a:srgbClr val="F26B43"/>
          </p15:clr>
        </p15:guide>
        <p15:guide id="4" pos="7464">
          <p15:clr>
            <a:srgbClr val="F26B43"/>
          </p15:clr>
        </p15:guide>
        <p15:guide id="5" orient="horz" pos="720">
          <p15:clr>
            <a:srgbClr val="F26B43"/>
          </p15:clr>
        </p15:guide>
        <p15:guide id="6" orient="horz" pos="39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9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4.jpe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5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Relationship Id="rId9" Type="http://schemas.openxmlformats.org/officeDocument/2006/relationships/image" Target="../media/image99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10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10.xml"/><Relationship Id="rId6" Type="http://schemas.openxmlformats.org/officeDocument/2006/relationships/image" Target="../media/image102.svg"/><Relationship Id="rId5" Type="http://schemas.openxmlformats.org/officeDocument/2006/relationships/image" Target="../media/image101.png"/><Relationship Id="rId4" Type="http://schemas.openxmlformats.org/officeDocument/2006/relationships/image" Target="../media/image1.emf"/><Relationship Id="rId9" Type="http://schemas.openxmlformats.org/officeDocument/2006/relationships/image" Target="../media/image10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13" Type="http://schemas.openxmlformats.org/officeDocument/2006/relationships/image" Target="../media/image111.png"/><Relationship Id="rId18" Type="http://schemas.openxmlformats.org/officeDocument/2006/relationships/image" Target="../media/image116.svg"/><Relationship Id="rId3" Type="http://schemas.openxmlformats.org/officeDocument/2006/relationships/oleObject" Target="../embeddings/oleObject9.bin"/><Relationship Id="rId21" Type="http://schemas.openxmlformats.org/officeDocument/2006/relationships/image" Target="../media/image119.png"/><Relationship Id="rId7" Type="http://schemas.openxmlformats.org/officeDocument/2006/relationships/image" Target="../media/image105.svg"/><Relationship Id="rId12" Type="http://schemas.openxmlformats.org/officeDocument/2006/relationships/image" Target="../media/image110.svg"/><Relationship Id="rId17" Type="http://schemas.openxmlformats.org/officeDocument/2006/relationships/image" Target="../media/image115.png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114.svg"/><Relationship Id="rId20" Type="http://schemas.openxmlformats.org/officeDocument/2006/relationships/image" Target="../media/image118.svg"/><Relationship Id="rId1" Type="http://schemas.openxmlformats.org/officeDocument/2006/relationships/tags" Target="../tags/tag11.xml"/><Relationship Id="rId6" Type="http://schemas.openxmlformats.org/officeDocument/2006/relationships/image" Target="../media/image101.png"/><Relationship Id="rId11" Type="http://schemas.openxmlformats.org/officeDocument/2006/relationships/image" Target="../media/image109.png"/><Relationship Id="rId5" Type="http://schemas.openxmlformats.org/officeDocument/2006/relationships/image" Target="../media/image52.png"/><Relationship Id="rId15" Type="http://schemas.openxmlformats.org/officeDocument/2006/relationships/image" Target="../media/image113.png"/><Relationship Id="rId10" Type="http://schemas.openxmlformats.org/officeDocument/2006/relationships/image" Target="../media/image108.png"/><Relationship Id="rId19" Type="http://schemas.openxmlformats.org/officeDocument/2006/relationships/image" Target="../media/image117.png"/><Relationship Id="rId4" Type="http://schemas.openxmlformats.org/officeDocument/2006/relationships/image" Target="../media/image1.emf"/><Relationship Id="rId9" Type="http://schemas.openxmlformats.org/officeDocument/2006/relationships/image" Target="../media/image107.svg"/><Relationship Id="rId14" Type="http://schemas.openxmlformats.org/officeDocument/2006/relationships/image" Target="../media/image112.svg"/><Relationship Id="rId22" Type="http://schemas.openxmlformats.org/officeDocument/2006/relationships/image" Target="../media/image120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6.png"/><Relationship Id="rId18" Type="http://schemas.openxmlformats.org/officeDocument/2006/relationships/image" Target="../media/image129.png"/><Relationship Id="rId3" Type="http://schemas.openxmlformats.org/officeDocument/2006/relationships/image" Target="../media/image121.png"/><Relationship Id="rId7" Type="http://schemas.openxmlformats.org/officeDocument/2006/relationships/image" Target="../media/image123.svg"/><Relationship Id="rId12" Type="http://schemas.openxmlformats.org/officeDocument/2006/relationships/image" Target="../media/image52.png"/><Relationship Id="rId17" Type="http://schemas.openxmlformats.org/officeDocument/2006/relationships/image" Target="../media/image120.svg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119.png"/><Relationship Id="rId1" Type="http://schemas.openxmlformats.org/officeDocument/2006/relationships/tags" Target="../tags/tag12.xml"/><Relationship Id="rId6" Type="http://schemas.openxmlformats.org/officeDocument/2006/relationships/image" Target="../media/image122.png"/><Relationship Id="rId11" Type="http://schemas.openxmlformats.org/officeDocument/2006/relationships/image" Target="../media/image102.svg"/><Relationship Id="rId5" Type="http://schemas.openxmlformats.org/officeDocument/2006/relationships/image" Target="../media/image1.emf"/><Relationship Id="rId15" Type="http://schemas.openxmlformats.org/officeDocument/2006/relationships/image" Target="../media/image128.svg"/><Relationship Id="rId10" Type="http://schemas.openxmlformats.org/officeDocument/2006/relationships/image" Target="../media/image101.png"/><Relationship Id="rId19" Type="http://schemas.openxmlformats.org/officeDocument/2006/relationships/image" Target="../media/image130.sv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25.svg"/><Relationship Id="rId14" Type="http://schemas.openxmlformats.org/officeDocument/2006/relationships/image" Target="../media/image12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13" Type="http://schemas.openxmlformats.org/officeDocument/2006/relationships/image" Target="../media/image135.png"/><Relationship Id="rId18" Type="http://schemas.openxmlformats.org/officeDocument/2006/relationships/image" Target="../media/image112.svg"/><Relationship Id="rId26" Type="http://schemas.openxmlformats.org/officeDocument/2006/relationships/image" Target="../media/image128.svg"/><Relationship Id="rId3" Type="http://schemas.openxmlformats.org/officeDocument/2006/relationships/notesSlide" Target="../notesSlides/notesSlide9.xml"/><Relationship Id="rId21" Type="http://schemas.openxmlformats.org/officeDocument/2006/relationships/image" Target="../media/image137.png"/><Relationship Id="rId7" Type="http://schemas.openxmlformats.org/officeDocument/2006/relationships/image" Target="../media/image134.svg"/><Relationship Id="rId12" Type="http://schemas.openxmlformats.org/officeDocument/2006/relationships/image" Target="../media/image52.png"/><Relationship Id="rId17" Type="http://schemas.openxmlformats.org/officeDocument/2006/relationships/image" Target="../media/image111.png"/><Relationship Id="rId25" Type="http://schemas.openxmlformats.org/officeDocument/2006/relationships/image" Target="../media/image127.png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125.svg"/><Relationship Id="rId20" Type="http://schemas.openxmlformats.org/officeDocument/2006/relationships/image" Target="../media/image116.svg"/><Relationship Id="rId1" Type="http://schemas.openxmlformats.org/officeDocument/2006/relationships/tags" Target="../tags/tag13.xml"/><Relationship Id="rId6" Type="http://schemas.openxmlformats.org/officeDocument/2006/relationships/image" Target="../media/image133.png"/><Relationship Id="rId11" Type="http://schemas.openxmlformats.org/officeDocument/2006/relationships/image" Target="../media/image105.svg"/><Relationship Id="rId24" Type="http://schemas.openxmlformats.org/officeDocument/2006/relationships/image" Target="../media/image120.svg"/><Relationship Id="rId5" Type="http://schemas.openxmlformats.org/officeDocument/2006/relationships/image" Target="../media/image132.svg"/><Relationship Id="rId15" Type="http://schemas.openxmlformats.org/officeDocument/2006/relationships/image" Target="../media/image124.png"/><Relationship Id="rId23" Type="http://schemas.openxmlformats.org/officeDocument/2006/relationships/image" Target="../media/image119.png"/><Relationship Id="rId10" Type="http://schemas.openxmlformats.org/officeDocument/2006/relationships/image" Target="../media/image101.png"/><Relationship Id="rId19" Type="http://schemas.openxmlformats.org/officeDocument/2006/relationships/image" Target="../media/image115.png"/><Relationship Id="rId4" Type="http://schemas.openxmlformats.org/officeDocument/2006/relationships/image" Target="../media/image131.png"/><Relationship Id="rId9" Type="http://schemas.openxmlformats.org/officeDocument/2006/relationships/image" Target="../media/image1.emf"/><Relationship Id="rId14" Type="http://schemas.openxmlformats.org/officeDocument/2006/relationships/image" Target="../media/image136.png"/><Relationship Id="rId22" Type="http://schemas.openxmlformats.org/officeDocument/2006/relationships/image" Target="../media/image13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14.svg"/><Relationship Id="rId18" Type="http://schemas.openxmlformats.org/officeDocument/2006/relationships/image" Target="../media/image138.png"/><Relationship Id="rId3" Type="http://schemas.openxmlformats.org/officeDocument/2006/relationships/oleObject" Target="../embeddings/oleObject12.bin"/><Relationship Id="rId21" Type="http://schemas.openxmlformats.org/officeDocument/2006/relationships/image" Target="../media/image143.png"/><Relationship Id="rId7" Type="http://schemas.openxmlformats.org/officeDocument/2006/relationships/image" Target="../media/image52.png"/><Relationship Id="rId12" Type="http://schemas.openxmlformats.org/officeDocument/2006/relationships/image" Target="../media/image113.png"/><Relationship Id="rId17" Type="http://schemas.openxmlformats.org/officeDocument/2006/relationships/image" Target="../media/image112.svg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111.png"/><Relationship Id="rId20" Type="http://schemas.openxmlformats.org/officeDocument/2006/relationships/image" Target="../media/image120.svg"/><Relationship Id="rId1" Type="http://schemas.openxmlformats.org/officeDocument/2006/relationships/tags" Target="../tags/tag14.xml"/><Relationship Id="rId6" Type="http://schemas.openxmlformats.org/officeDocument/2006/relationships/image" Target="../media/image102.svg"/><Relationship Id="rId11" Type="http://schemas.openxmlformats.org/officeDocument/2006/relationships/image" Target="../media/image142.svg"/><Relationship Id="rId24" Type="http://schemas.openxmlformats.org/officeDocument/2006/relationships/image" Target="../media/image118.svg"/><Relationship Id="rId5" Type="http://schemas.openxmlformats.org/officeDocument/2006/relationships/image" Target="../media/image101.png"/><Relationship Id="rId15" Type="http://schemas.openxmlformats.org/officeDocument/2006/relationships/image" Target="../media/image116.svg"/><Relationship Id="rId23" Type="http://schemas.openxmlformats.org/officeDocument/2006/relationships/image" Target="../media/image117.png"/><Relationship Id="rId10" Type="http://schemas.openxmlformats.org/officeDocument/2006/relationships/image" Target="../media/image141.png"/><Relationship Id="rId19" Type="http://schemas.openxmlformats.org/officeDocument/2006/relationships/image" Target="../media/image119.png"/><Relationship Id="rId4" Type="http://schemas.openxmlformats.org/officeDocument/2006/relationships/image" Target="../media/image1.emf"/><Relationship Id="rId9" Type="http://schemas.openxmlformats.org/officeDocument/2006/relationships/image" Target="../media/image140.png"/><Relationship Id="rId14" Type="http://schemas.openxmlformats.org/officeDocument/2006/relationships/image" Target="../media/image115.png"/><Relationship Id="rId22" Type="http://schemas.openxmlformats.org/officeDocument/2006/relationships/image" Target="../media/image144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svg"/><Relationship Id="rId13" Type="http://schemas.openxmlformats.org/officeDocument/2006/relationships/image" Target="../media/image152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147.png"/><Relationship Id="rId12" Type="http://schemas.openxmlformats.org/officeDocument/2006/relationships/image" Target="../media/image15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146.svg"/><Relationship Id="rId11" Type="http://schemas.openxmlformats.org/officeDocument/2006/relationships/image" Target="../media/image150.svg"/><Relationship Id="rId5" Type="http://schemas.openxmlformats.org/officeDocument/2006/relationships/image" Target="../media/image145.png"/><Relationship Id="rId15" Type="http://schemas.openxmlformats.org/officeDocument/2006/relationships/image" Target="../media/image154.svg"/><Relationship Id="rId10" Type="http://schemas.openxmlformats.org/officeDocument/2006/relationships/image" Target="../media/image149.png"/><Relationship Id="rId4" Type="http://schemas.openxmlformats.org/officeDocument/2006/relationships/image" Target="../media/image1.emf"/><Relationship Id="rId9" Type="http://schemas.openxmlformats.org/officeDocument/2006/relationships/image" Target="../media/image52.png"/><Relationship Id="rId14" Type="http://schemas.openxmlformats.org/officeDocument/2006/relationships/image" Target="../media/image15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16.xml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55.jpeg"/><Relationship Id="rId1" Type="http://schemas.openxmlformats.org/officeDocument/2006/relationships/slideLayout" Target="../slideLayouts/slideLayout119.xml"/><Relationship Id="rId4" Type="http://schemas.openxmlformats.org/officeDocument/2006/relationships/image" Target="../media/image49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13" Type="http://schemas.openxmlformats.org/officeDocument/2006/relationships/image" Target="../media/image163.svg"/><Relationship Id="rId18" Type="http://schemas.openxmlformats.org/officeDocument/2006/relationships/image" Target="../media/image168.png"/><Relationship Id="rId3" Type="http://schemas.openxmlformats.org/officeDocument/2006/relationships/oleObject" Target="../embeddings/oleObject15.bin"/><Relationship Id="rId21" Type="http://schemas.openxmlformats.org/officeDocument/2006/relationships/image" Target="../media/image171.svg"/><Relationship Id="rId7" Type="http://schemas.openxmlformats.org/officeDocument/2006/relationships/image" Target="../media/image157.svg"/><Relationship Id="rId12" Type="http://schemas.openxmlformats.org/officeDocument/2006/relationships/image" Target="../media/image162.png"/><Relationship Id="rId17" Type="http://schemas.openxmlformats.org/officeDocument/2006/relationships/image" Target="../media/image167.svg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166.png"/><Relationship Id="rId20" Type="http://schemas.openxmlformats.org/officeDocument/2006/relationships/image" Target="../media/image170.png"/><Relationship Id="rId1" Type="http://schemas.openxmlformats.org/officeDocument/2006/relationships/tags" Target="../tags/tag17.xml"/><Relationship Id="rId6" Type="http://schemas.openxmlformats.org/officeDocument/2006/relationships/image" Target="../media/image156.png"/><Relationship Id="rId11" Type="http://schemas.openxmlformats.org/officeDocument/2006/relationships/image" Target="../media/image161.svg"/><Relationship Id="rId5" Type="http://schemas.openxmlformats.org/officeDocument/2006/relationships/image" Target="../media/image52.png"/><Relationship Id="rId15" Type="http://schemas.openxmlformats.org/officeDocument/2006/relationships/image" Target="../media/image165.svg"/><Relationship Id="rId10" Type="http://schemas.openxmlformats.org/officeDocument/2006/relationships/image" Target="../media/image160.png"/><Relationship Id="rId19" Type="http://schemas.openxmlformats.org/officeDocument/2006/relationships/image" Target="../media/image169.svg"/><Relationship Id="rId4" Type="http://schemas.openxmlformats.org/officeDocument/2006/relationships/image" Target="../media/image1.emf"/><Relationship Id="rId9" Type="http://schemas.openxmlformats.org/officeDocument/2006/relationships/image" Target="../media/image159.svg"/><Relationship Id="rId14" Type="http://schemas.openxmlformats.org/officeDocument/2006/relationships/image" Target="../media/image16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7" Type="http://schemas.openxmlformats.org/officeDocument/2006/relationships/image" Target="../media/image173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18.xml"/><Relationship Id="rId6" Type="http://schemas.openxmlformats.org/officeDocument/2006/relationships/image" Target="../media/image5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7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7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52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7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7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7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png"/><Relationship Id="rId9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18" Type="http://schemas.openxmlformats.org/officeDocument/2006/relationships/image" Target="../media/image73.png"/><Relationship Id="rId3" Type="http://schemas.openxmlformats.org/officeDocument/2006/relationships/notesSlide" Target="../notesSlides/notesSlide5.xml"/><Relationship Id="rId21" Type="http://schemas.openxmlformats.org/officeDocument/2006/relationships/image" Target="../media/image76.png"/><Relationship Id="rId7" Type="http://schemas.openxmlformats.org/officeDocument/2006/relationships/image" Target="../media/image52.png"/><Relationship Id="rId12" Type="http://schemas.openxmlformats.org/officeDocument/2006/relationships/image" Target="../media/image67.png"/><Relationship Id="rId17" Type="http://schemas.openxmlformats.org/officeDocument/2006/relationships/image" Target="../media/image72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1" Type="http://schemas.openxmlformats.org/officeDocument/2006/relationships/tags" Target="../tags/tag6.xml"/><Relationship Id="rId6" Type="http://schemas.openxmlformats.org/officeDocument/2006/relationships/image" Target="../media/image62.jpeg"/><Relationship Id="rId11" Type="http://schemas.openxmlformats.org/officeDocument/2006/relationships/image" Target="../media/image66.svg"/><Relationship Id="rId5" Type="http://schemas.openxmlformats.org/officeDocument/2006/relationships/image" Target="../media/image1.emf"/><Relationship Id="rId15" Type="http://schemas.openxmlformats.org/officeDocument/2006/relationships/image" Target="../media/image70.svg"/><Relationship Id="rId10" Type="http://schemas.openxmlformats.org/officeDocument/2006/relationships/image" Target="../media/image65.png"/><Relationship Id="rId19" Type="http://schemas.openxmlformats.org/officeDocument/2006/relationships/image" Target="../media/image74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4.svg"/><Relationship Id="rId14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7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10" Type="http://schemas.openxmlformats.org/officeDocument/2006/relationships/image" Target="../media/image81.png"/><Relationship Id="rId4" Type="http://schemas.openxmlformats.org/officeDocument/2006/relationships/image" Target="../media/image1.emf"/><Relationship Id="rId9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8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52.png"/><Relationship Id="rId10" Type="http://schemas.openxmlformats.org/officeDocument/2006/relationships/image" Target="../media/image86.png"/><Relationship Id="rId4" Type="http://schemas.openxmlformats.org/officeDocument/2006/relationships/image" Target="../media/image1.emf"/><Relationship Id="rId9" Type="http://schemas.openxmlformats.org/officeDocument/2006/relationships/image" Target="../media/image8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jpe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5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F0C4C97A-48F3-0D4E-B6AD-D4D29D1823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385"/>
          <a:stretch/>
        </p:blipFill>
        <p:spPr>
          <a:xfrm>
            <a:off x="100208" y="0"/>
            <a:ext cx="12100142" cy="6858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564703B2-8583-8144-9B05-A1186A96DA84}"/>
              </a:ext>
            </a:extLst>
          </p:cNvPr>
          <p:cNvSpPr/>
          <p:nvPr/>
        </p:nvSpPr>
        <p:spPr>
          <a:xfrm>
            <a:off x="5476875" y="0"/>
            <a:ext cx="6535586" cy="6858000"/>
          </a:xfrm>
          <a:prstGeom prst="rect">
            <a:avLst/>
          </a:prstGeom>
          <a:gradFill>
            <a:gsLst>
              <a:gs pos="100000">
                <a:srgbClr val="272726">
                  <a:alpha val="0"/>
                </a:srgbClr>
              </a:gs>
              <a:gs pos="0">
                <a:srgbClr val="FFB300">
                  <a:alpha val="7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E333603-9DE7-8BD3-0D31-0EA9D6EE11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13278" y="0"/>
            <a:ext cx="6585528" cy="687185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0B658F-B382-AA72-C89F-A083EB9CC2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1723688" y="11970515"/>
            <a:ext cx="26279475" cy="274415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E65912-6576-EA25-B66C-1751895D61FA}"/>
              </a:ext>
            </a:extLst>
          </p:cNvPr>
          <p:cNvSpPr txBox="1">
            <a:spLocks/>
          </p:cNvSpPr>
          <p:nvPr/>
        </p:nvSpPr>
        <p:spPr>
          <a:xfrm>
            <a:off x="439118" y="2971952"/>
            <a:ext cx="4795222" cy="91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 Demi"/>
                <a:ea typeface="+mn-ea"/>
                <a:cs typeface="+mn-cs"/>
              </a:rPr>
              <a:t>SLSVIEW</a:t>
            </a:r>
            <a:endParaRPr kumimoji="0" lang="en-GB" sz="6600" b="0" i="0" u="none" strike="noStrike" kern="1200" cap="none" spc="147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2B48A56-AAC2-1D3D-BF9F-9F6CD361EFB5}"/>
              </a:ext>
            </a:extLst>
          </p:cNvPr>
          <p:cNvSpPr txBox="1">
            <a:spLocks/>
          </p:cNvSpPr>
          <p:nvPr/>
        </p:nvSpPr>
        <p:spPr>
          <a:xfrm>
            <a:off x="439118" y="4044277"/>
            <a:ext cx="6253843" cy="2492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upply Chain Visibility Powered by 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FF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VIEW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CB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E5C2FE-F1DF-FEF2-2448-BAC8D0CE825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567047"/>
            <a:ext cx="901149" cy="629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198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30C9ABA-B428-B847-B29C-E8C3F1AACB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"/>
          <a:stretch/>
        </p:blipFill>
        <p:spPr>
          <a:xfrm>
            <a:off x="138" y="0"/>
            <a:ext cx="6003562" cy="684832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01287F5-D758-2040-A26E-EFE3E93C5EF7}"/>
              </a:ext>
            </a:extLst>
          </p:cNvPr>
          <p:cNvSpPr/>
          <p:nvPr/>
        </p:nvSpPr>
        <p:spPr>
          <a:xfrm>
            <a:off x="4569" y="9676"/>
            <a:ext cx="6003700" cy="6858000"/>
          </a:xfrm>
          <a:prstGeom prst="rect">
            <a:avLst/>
          </a:prstGeom>
          <a:solidFill>
            <a:schemeClr val="tx1">
              <a:alpha val="4445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081B14-219A-378C-231D-3F88D6BFC5A9}"/>
              </a:ext>
            </a:extLst>
          </p:cNvPr>
          <p:cNvSpPr/>
          <p:nvPr/>
        </p:nvSpPr>
        <p:spPr>
          <a:xfrm>
            <a:off x="7636131" y="3766233"/>
            <a:ext cx="1646314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Enhance </a:t>
            </a:r>
            <a:r>
              <a:rPr lang="en-US" sz="1400">
                <a:latin typeface="Avenir Next LT Pro"/>
              </a:rPr>
              <a:t>RFID read behavior and performance</a:t>
            </a:r>
            <a:endParaRPr lang="en-US" sz="1400" i="0" u="none" strike="noStrike" kern="1200" cap="none" spc="0" normalizeH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FA9ABE-E6C5-9E28-D1B2-AD65225C2DE6}"/>
              </a:ext>
            </a:extLst>
          </p:cNvPr>
          <p:cNvSpPr/>
          <p:nvPr/>
        </p:nvSpPr>
        <p:spPr>
          <a:xfrm>
            <a:off x="10067230" y="3766233"/>
            <a:ext cx="1469785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lang="en-US" sz="1400">
                <a:latin typeface="Avenir Next LT Pro"/>
              </a:rPr>
              <a:t>One stop shop for end-to-end RFID Solutions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4CAF62-D789-DF77-8A50-AF14E244AA04}"/>
              </a:ext>
            </a:extLst>
          </p:cNvPr>
          <p:cNvSpPr/>
          <p:nvPr/>
        </p:nvSpPr>
        <p:spPr>
          <a:xfrm>
            <a:off x="7640432" y="4791685"/>
            <a:ext cx="1320688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lang="en-US" sz="1400">
                <a:latin typeface="Avenir Next LT Pro"/>
              </a:rPr>
              <a:t>Easy to scale and deploy software</a:t>
            </a:r>
            <a:endParaRPr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C27FCB-67F3-D624-4275-49FBDE1536A7}"/>
              </a:ext>
            </a:extLst>
          </p:cNvPr>
          <p:cNvSpPr/>
          <p:nvPr/>
        </p:nvSpPr>
        <p:spPr>
          <a:xfrm>
            <a:off x="10077797" y="4791774"/>
            <a:ext cx="1606203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Low cost</a:t>
            </a:r>
            <a:r>
              <a:rPr lang="en-US" sz="1400">
                <a:latin typeface="Avenir Next LT Pro"/>
              </a:rPr>
              <a:t>, rapid 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plug and play integration</a:t>
            </a:r>
            <a:endParaRPr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481AE38-6C00-5D71-DBB2-25DED7A2C6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0526" y="3845733"/>
            <a:ext cx="599261" cy="59926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A4E72AC-5DE9-FF82-1178-74C93F319D3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7818" y="4869007"/>
            <a:ext cx="612000" cy="612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F1C2897-CB93-B7FC-B8EC-2C82BF971F5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4956" y="4883157"/>
            <a:ext cx="576000" cy="576000"/>
          </a:xfrm>
          <a:prstGeom prst="rect">
            <a:avLst/>
          </a:prstGeom>
        </p:spPr>
      </p:pic>
      <p:sp>
        <p:nvSpPr>
          <p:cNvPr id="28" name="Title 4">
            <a:extLst>
              <a:ext uri="{FF2B5EF4-FFF2-40B4-BE49-F238E27FC236}">
                <a16:creationId xmlns:a16="http://schemas.microsoft.com/office/drawing/2014/main" id="{70DF3AB5-F1B5-5DF2-4DFA-2BD24F44A93F}"/>
              </a:ext>
            </a:extLst>
          </p:cNvPr>
          <p:cNvSpPr txBox="1">
            <a:spLocks/>
          </p:cNvSpPr>
          <p:nvPr/>
        </p:nvSpPr>
        <p:spPr>
          <a:xfrm>
            <a:off x="6890526" y="1053087"/>
            <a:ext cx="5015148" cy="9971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err="1">
                <a:solidFill>
                  <a:schemeClr val="tx1"/>
                </a:solidFill>
                <a:latin typeface="Avenir Next LT Pro"/>
              </a:rPr>
              <a:t>Enable</a:t>
            </a:r>
            <a:r>
              <a:rPr lang="pt-BR">
                <a:solidFill>
                  <a:schemeClr val="tx1"/>
                </a:solidFill>
                <a:latin typeface="Avenir Next LT Pro"/>
              </a:rPr>
              <a:t> Supply Chain </a:t>
            </a:r>
            <a:r>
              <a:rPr lang="pt-BR" err="1">
                <a:solidFill>
                  <a:schemeClr val="tx1"/>
                </a:solidFill>
                <a:latin typeface="Avenir Next LT Pro"/>
              </a:rPr>
              <a:t>Visibility</a:t>
            </a:r>
            <a:r>
              <a:rPr lang="pt-BR">
                <a:solidFill>
                  <a:schemeClr val="tx1"/>
                </a:solidFill>
                <a:latin typeface="Avenir Next LT Pro"/>
              </a:rPr>
              <a:t> </a:t>
            </a:r>
            <a:r>
              <a:rPr lang="pt-BR" err="1">
                <a:solidFill>
                  <a:schemeClr val="tx1"/>
                </a:solidFill>
                <a:latin typeface="Avenir Next LT Pro"/>
              </a:rPr>
              <a:t>with</a:t>
            </a:r>
            <a:r>
              <a:rPr lang="pt-BR">
                <a:solidFill>
                  <a:schemeClr val="tx1"/>
                </a:solidFill>
                <a:latin typeface="Avenir Next LT Pro"/>
              </a:rPr>
              <a:t> </a:t>
            </a:r>
            <a:r>
              <a:rPr lang="pt-BR" b="1">
                <a:solidFill>
                  <a:srgbClr val="FFCB00"/>
                </a:solidFill>
                <a:latin typeface="Avenir Next LT Pro"/>
              </a:rPr>
              <a:t>SLSVIEW</a:t>
            </a:r>
            <a:r>
              <a:rPr lang="pt-BR">
                <a:solidFill>
                  <a:srgbClr val="FFCB00"/>
                </a:solidFill>
                <a:latin typeface="Avenir Next LT Pro"/>
              </a:rPr>
              <a:t> </a:t>
            </a:r>
            <a:endParaRPr lang="pt-BR" sz="3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882FDF-4798-9D44-4283-7E2ECC00FB77}"/>
              </a:ext>
            </a:extLst>
          </p:cNvPr>
          <p:cNvSpPr/>
          <p:nvPr/>
        </p:nvSpPr>
        <p:spPr>
          <a:xfrm flipH="1">
            <a:off x="3057524" y="-377"/>
            <a:ext cx="2946175" cy="6858000"/>
          </a:xfrm>
          <a:prstGeom prst="rect">
            <a:avLst/>
          </a:prstGeom>
          <a:gradFill>
            <a:gsLst>
              <a:gs pos="100000">
                <a:srgbClr val="272726">
                  <a:alpha val="0"/>
                </a:srgbClr>
              </a:gs>
              <a:gs pos="0">
                <a:srgbClr val="FFB300">
                  <a:alpha val="7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EAC4866-413A-36A9-1F38-CD5FD841C419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C2173F5-6432-465E-A768-2F9DE2D8ED5A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venir Next LT Pro" panose="020B0504020202020204" pitchFamily="34" charset="0"/>
              </a:rPr>
              <a:pPr algn="ctr">
                <a:defRPr/>
              </a:pPr>
              <a:t>10</a:t>
            </a:fld>
            <a:endParaRPr lang="en-US" sz="1200">
              <a:solidFill>
                <a:prstClr val="black">
                  <a:tint val="75000"/>
                </a:prst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" name="Subtitle 49">
            <a:extLst>
              <a:ext uri="{FF2B5EF4-FFF2-40B4-BE49-F238E27FC236}">
                <a16:creationId xmlns:a16="http://schemas.microsoft.com/office/drawing/2014/main" id="{09E38F77-E0DE-9C0F-0B7F-9F51D6F384DE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2C3D1D9-6C6C-8A5D-BCFB-B932C5235A8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259" y="21016"/>
            <a:ext cx="1192602" cy="107816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9F5C9790-0966-E333-4EDB-08F15140D04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52540" y="3860800"/>
            <a:ext cx="53194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8116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8749B9-DEF1-11D3-A025-C376330FA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259" y="3093994"/>
            <a:ext cx="6790457" cy="670011"/>
          </a:xfrm>
        </p:spPr>
        <p:txBody>
          <a:bodyPr/>
          <a:lstStyle/>
          <a:p>
            <a:pPr algn="ctr"/>
            <a:r>
              <a:rPr lang="en-US">
                <a:solidFill>
                  <a:schemeClr val="tx2"/>
                </a:solidFill>
              </a:rPr>
              <a:t>Workflows</a:t>
            </a:r>
          </a:p>
        </p:txBody>
      </p:sp>
      <p:sp>
        <p:nvSpPr>
          <p:cNvPr id="22" name="Subtitle 49">
            <a:extLst>
              <a:ext uri="{FF2B5EF4-FFF2-40B4-BE49-F238E27FC236}">
                <a16:creationId xmlns:a16="http://schemas.microsoft.com/office/drawing/2014/main" id="{E5262B32-EB53-BCE8-5241-97D8580BBCB8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4DA833-40EA-8B4E-1083-3BA1880276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AC77E2C7-1C0D-82BC-043C-3193B267CA37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C2173F5-6432-465E-A768-2F9DE2D8ED5A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venir Next LT Pro" panose="020B0504020202020204" pitchFamily="34" charset="0"/>
              </a:rPr>
              <a:pPr algn="ctr">
                <a:defRPr/>
              </a:pPr>
              <a:t>11</a:t>
            </a:fld>
            <a:endParaRPr lang="en-US" sz="1200">
              <a:solidFill>
                <a:prstClr val="black">
                  <a:tint val="75000"/>
                </a:prstClr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8021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F97BDC-1C41-8BFA-C2DD-028B66CE63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F97BDC-1C41-8BFA-C2DD-028B66CE6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33DEB223-2F9E-C723-579D-61350095A415}"/>
              </a:ext>
            </a:extLst>
          </p:cNvPr>
          <p:cNvSpPr/>
          <p:nvPr/>
        </p:nvSpPr>
        <p:spPr>
          <a:xfrm flipH="1">
            <a:off x="6648018" y="0"/>
            <a:ext cx="55804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9BB48C-DD1E-FA70-A5D0-756DD3376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038" y="1670047"/>
            <a:ext cx="4829447" cy="1495794"/>
          </a:xfrm>
        </p:spPr>
        <p:txBody>
          <a:bodyPr vert="horz"/>
          <a:lstStyle/>
          <a:p>
            <a:r>
              <a:rPr lang="en-US">
                <a:solidFill>
                  <a:schemeClr val="tx2"/>
                </a:solidFill>
              </a:rPr>
              <a:t>RFID Automation Workflows Powered by </a:t>
            </a:r>
            <a:r>
              <a:rPr lang="en-US">
                <a:solidFill>
                  <a:srgbClr val="FFCB00"/>
                </a:solidFill>
                <a:latin typeface="Avenir Next LT Pro Demi" panose="020B0704020202020204" pitchFamily="34" charset="0"/>
              </a:rPr>
              <a:t>SLSVIEW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2EDB13-83FF-3B38-8A2C-28834A8264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9E4A50-BA26-8DF1-34A0-B2876128E0C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507" y="3133936"/>
            <a:ext cx="6132511" cy="3874982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1024782-CF07-948E-84AA-034D2AFD04E9}"/>
              </a:ext>
            </a:extLst>
          </p:cNvPr>
          <p:cNvSpPr txBox="1"/>
          <p:nvPr/>
        </p:nvSpPr>
        <p:spPr>
          <a:xfrm>
            <a:off x="7967873" y="5144653"/>
            <a:ext cx="3076472" cy="6771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5. Shipment Verificati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utomated shipping and customer-receiving track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19D1661-E4BC-72DC-6B1B-60A05B69CC1E}"/>
              </a:ext>
            </a:extLst>
          </p:cNvPr>
          <p:cNvSpPr txBox="1"/>
          <p:nvPr/>
        </p:nvSpPr>
        <p:spPr>
          <a:xfrm>
            <a:off x="7967873" y="3440895"/>
            <a:ext cx="3076472" cy="6771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3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</a:rPr>
              <a:t>. Inventory Management 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</a:rPr>
              <a:t>End-to-end inventory visibility with automated cycle counting </a:t>
            </a:r>
            <a:r>
              <a:rPr lang="en-US" sz="1200">
                <a:solidFill>
                  <a:srgbClr val="2D2E34"/>
                </a:solidFill>
                <a:latin typeface="Avenir Next LT Pro"/>
              </a:rPr>
              <a:t>i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</a:rPr>
              <a:t>minutes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D7EFBD6-1197-AD06-701D-502AEA02027C}"/>
              </a:ext>
            </a:extLst>
          </p:cNvPr>
          <p:cNvSpPr txBox="1"/>
          <p:nvPr/>
        </p:nvSpPr>
        <p:spPr>
          <a:xfrm>
            <a:off x="7962739" y="4295129"/>
            <a:ext cx="3352709" cy="6771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4.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eturnable Container Tracking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sset visibility across suppliers, manufacturers, distributors, and customer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0191978-C1DF-C074-AC86-ABD54706372B}"/>
              </a:ext>
            </a:extLst>
          </p:cNvPr>
          <p:cNvSpPr txBox="1"/>
          <p:nvPr/>
        </p:nvSpPr>
        <p:spPr>
          <a:xfrm>
            <a:off x="7962739" y="2586661"/>
            <a:ext cx="3654485" cy="6771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2. Order Fulfillment Verificati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tomated content verification without manual staging and unboxing</a:t>
            </a:r>
          </a:p>
        </p:txBody>
      </p:sp>
      <p:sp>
        <p:nvSpPr>
          <p:cNvPr id="8" name="Subtitle 49">
            <a:extLst>
              <a:ext uri="{FF2B5EF4-FFF2-40B4-BE49-F238E27FC236}">
                <a16:creationId xmlns:a16="http://schemas.microsoft.com/office/drawing/2014/main" id="{4C3AF0A5-71C0-95A7-900F-BDA34FE34373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EDD0BCF-84DE-3758-6947-8C2AD5DC28F5}"/>
              </a:ext>
            </a:extLst>
          </p:cNvPr>
          <p:cNvSpPr/>
          <p:nvPr/>
        </p:nvSpPr>
        <p:spPr>
          <a:xfrm>
            <a:off x="5430251" y="4960813"/>
            <a:ext cx="188554" cy="184666"/>
          </a:xfrm>
          <a:prstGeom prst="ellipse">
            <a:avLst/>
          </a:prstGeom>
          <a:solidFill>
            <a:srgbClr val="EED20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3C4F5B-600A-84BB-DDFA-3B6E4A18D51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96BB78-A665-EA5D-26FB-91E8EAE9B9F4}"/>
              </a:ext>
            </a:extLst>
          </p:cNvPr>
          <p:cNvSpPr txBox="1"/>
          <p:nvPr/>
        </p:nvSpPr>
        <p:spPr>
          <a:xfrm>
            <a:off x="7962739" y="1734421"/>
            <a:ext cx="3352709" cy="67710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1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. </a:t>
            </a:r>
            <a:r>
              <a:rPr lang="en-US" sz="1400">
                <a:solidFill>
                  <a:srgbClr val="2D2E34"/>
                </a:solidFill>
                <a:latin typeface="Avenir Next LT Pro Demi"/>
              </a:rPr>
              <a:t>Print with Serialized Identific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lectronic product code tag encoding and printing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5B3CE9-419D-5406-438A-A8604064F03F}"/>
              </a:ext>
            </a:extLst>
          </p:cNvPr>
          <p:cNvSpPr txBox="1"/>
          <p:nvPr/>
        </p:nvSpPr>
        <p:spPr>
          <a:xfrm>
            <a:off x="5477239" y="4963705"/>
            <a:ext cx="94578" cy="184666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rgbClr val="2D2E34"/>
                </a:solidFill>
                <a:latin typeface="Avenir Next LT Pro Demi"/>
                <a:ea typeface="+mj-ea"/>
                <a:cs typeface="+mj-cs"/>
              </a:rPr>
              <a:t>5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  <a:ea typeface="+mj-ea"/>
              <a:cs typeface="+mj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298CAAE-A60A-150E-F966-12F27B8D3012}"/>
              </a:ext>
            </a:extLst>
          </p:cNvPr>
          <p:cNvSpPr/>
          <p:nvPr/>
        </p:nvSpPr>
        <p:spPr>
          <a:xfrm>
            <a:off x="3709889" y="4378387"/>
            <a:ext cx="188554" cy="184666"/>
          </a:xfrm>
          <a:prstGeom prst="ellipse">
            <a:avLst/>
          </a:prstGeom>
          <a:solidFill>
            <a:srgbClr val="EED20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977F4E-5E73-5EDE-3EC3-722D9D2DBDF6}"/>
              </a:ext>
            </a:extLst>
          </p:cNvPr>
          <p:cNvSpPr txBox="1"/>
          <p:nvPr/>
        </p:nvSpPr>
        <p:spPr>
          <a:xfrm>
            <a:off x="3756877" y="4381279"/>
            <a:ext cx="94578" cy="184666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3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Medium" panose="020B0603020102020204" pitchFamily="34" charset="0"/>
              <a:ea typeface="+mj-ea"/>
              <a:cs typeface="+mj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55A9FF7-C364-7BD3-E1EC-448BC6C027A7}"/>
              </a:ext>
            </a:extLst>
          </p:cNvPr>
          <p:cNvSpPr/>
          <p:nvPr/>
        </p:nvSpPr>
        <p:spPr>
          <a:xfrm>
            <a:off x="1900650" y="4445064"/>
            <a:ext cx="188554" cy="184666"/>
          </a:xfrm>
          <a:prstGeom prst="ellipse">
            <a:avLst/>
          </a:prstGeom>
          <a:solidFill>
            <a:srgbClr val="EED20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204D3C-E4AF-678F-C1CA-26A050DD6E6B}"/>
              </a:ext>
            </a:extLst>
          </p:cNvPr>
          <p:cNvSpPr txBox="1"/>
          <p:nvPr/>
        </p:nvSpPr>
        <p:spPr>
          <a:xfrm>
            <a:off x="1947638" y="4447956"/>
            <a:ext cx="94578" cy="184666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rgbClr val="2D2E34"/>
                </a:solidFill>
                <a:latin typeface="Avenir Next LT Pro Demi"/>
                <a:ea typeface="+mj-ea"/>
                <a:cs typeface="+mj-cs"/>
              </a:rPr>
              <a:t>2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  <a:ea typeface="+mj-ea"/>
              <a:cs typeface="+mj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36F5B4F-AC0E-1E1E-F689-1C488530D9FE}"/>
              </a:ext>
            </a:extLst>
          </p:cNvPr>
          <p:cNvSpPr/>
          <p:nvPr/>
        </p:nvSpPr>
        <p:spPr>
          <a:xfrm>
            <a:off x="1483567" y="4063001"/>
            <a:ext cx="188554" cy="184666"/>
          </a:xfrm>
          <a:prstGeom prst="ellipse">
            <a:avLst/>
          </a:prstGeom>
          <a:solidFill>
            <a:srgbClr val="EED20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7AE384F-56D2-E360-2E9A-F61FA6CF0A26}"/>
              </a:ext>
            </a:extLst>
          </p:cNvPr>
          <p:cNvSpPr txBox="1"/>
          <p:nvPr/>
        </p:nvSpPr>
        <p:spPr>
          <a:xfrm>
            <a:off x="1539905" y="4065893"/>
            <a:ext cx="94578" cy="184666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rgbClr val="2D2E34"/>
                </a:solidFill>
                <a:latin typeface="Avenir Next LT Pro Demi"/>
                <a:ea typeface="+mj-ea"/>
                <a:cs typeface="+mj-cs"/>
              </a:rPr>
              <a:t>4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  <a:ea typeface="+mj-ea"/>
              <a:cs typeface="+mj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1F96EB2-2B00-228F-3D8C-5EDE28C88AE7}"/>
              </a:ext>
            </a:extLst>
          </p:cNvPr>
          <p:cNvSpPr/>
          <p:nvPr/>
        </p:nvSpPr>
        <p:spPr>
          <a:xfrm>
            <a:off x="1530555" y="3675443"/>
            <a:ext cx="188554" cy="184666"/>
          </a:xfrm>
          <a:prstGeom prst="ellipse">
            <a:avLst/>
          </a:prstGeom>
          <a:solidFill>
            <a:srgbClr val="EED20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4CE74D1-4CE4-C25A-C1D4-F5DD44D3CF49}"/>
              </a:ext>
            </a:extLst>
          </p:cNvPr>
          <p:cNvSpPr txBox="1"/>
          <p:nvPr/>
        </p:nvSpPr>
        <p:spPr>
          <a:xfrm>
            <a:off x="1577543" y="3678335"/>
            <a:ext cx="94578" cy="184666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1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Medium" panose="020B06030201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47812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7C484206-F1EC-CBAA-2AC3-BF72F3949238}"/>
              </a:ext>
            </a:extLst>
          </p:cNvPr>
          <p:cNvSpPr/>
          <p:nvPr/>
        </p:nvSpPr>
        <p:spPr>
          <a:xfrm>
            <a:off x="8500853" y="9331"/>
            <a:ext cx="3684988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D397E9BD-9FF9-82B9-36A7-F00B875BF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10670211" cy="498598"/>
          </a:xfrm>
        </p:spPr>
        <p:txBody>
          <a:bodyPr vert="horz"/>
          <a:lstStyle/>
          <a:p>
            <a:r>
              <a:rPr lang="en-US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1. Print with RFID</a:t>
            </a:r>
            <a:endParaRPr lang="pt-BR">
              <a:solidFill>
                <a:schemeClr val="tx2"/>
              </a:solidFill>
              <a:latin typeface="Avenir Next LT Pro Demi"/>
            </a:endParaRPr>
          </a:p>
        </p:txBody>
      </p:sp>
      <p:sp>
        <p:nvSpPr>
          <p:cNvPr id="14" name="Rectangle: Rounded Corners 184">
            <a:extLst>
              <a:ext uri="{FF2B5EF4-FFF2-40B4-BE49-F238E27FC236}">
                <a16:creationId xmlns:a16="http://schemas.microsoft.com/office/drawing/2014/main" id="{19822650-86CB-A6A9-5EE4-83DA39720C86}"/>
              </a:ext>
            </a:extLst>
          </p:cNvPr>
          <p:cNvSpPr>
            <a:spLocks/>
          </p:cNvSpPr>
          <p:nvPr/>
        </p:nvSpPr>
        <p:spPr>
          <a:xfrm>
            <a:off x="9196360" y="2911728"/>
            <a:ext cx="2331278" cy="738130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/>
                <a:cs typeface="Calibri"/>
              </a:rPr>
              <a:t>GS1 Tag Data Standard </a:t>
            </a:r>
            <a:r>
              <a:rPr lang="en-US" sz="1200">
                <a:solidFill>
                  <a:schemeClr val="tx1"/>
                </a:solidFill>
                <a:latin typeface="Avenir Next LT Pro"/>
                <a:cs typeface="Calibri"/>
              </a:rPr>
              <a:t>(TDS)</a:t>
            </a:r>
            <a:r>
              <a:rPr lang="en-US" sz="1200" b="1">
                <a:solidFill>
                  <a:schemeClr val="tx1"/>
                </a:solidFill>
                <a:latin typeface="Avenir Next LT Pro"/>
                <a:cs typeface="Calibri"/>
              </a:rPr>
              <a:t> </a:t>
            </a:r>
            <a:r>
              <a:rPr lang="en-US" sz="1200">
                <a:solidFill>
                  <a:schemeClr val="tx1"/>
                </a:solidFill>
                <a:latin typeface="Avenir Next LT Pro"/>
                <a:cs typeface="Calibri"/>
              </a:rPr>
              <a:t>compliant encoding</a:t>
            </a:r>
            <a:endParaRPr lang="en-IN" sz="1200">
              <a:solidFill>
                <a:schemeClr val="tx1"/>
              </a:solidFill>
              <a:latin typeface="Avenir Next LT Pro"/>
              <a:cs typeface="Calibri"/>
            </a:endParaRPr>
          </a:p>
        </p:txBody>
      </p:sp>
      <p:sp>
        <p:nvSpPr>
          <p:cNvPr id="15" name="Rectangle: Rounded Corners 18">
            <a:extLst>
              <a:ext uri="{FF2B5EF4-FFF2-40B4-BE49-F238E27FC236}">
                <a16:creationId xmlns:a16="http://schemas.microsoft.com/office/drawing/2014/main" id="{32A02CBF-9D54-2F58-CA30-4DB9ACECE770}"/>
              </a:ext>
            </a:extLst>
          </p:cNvPr>
          <p:cNvSpPr>
            <a:spLocks/>
          </p:cNvSpPr>
          <p:nvPr/>
        </p:nvSpPr>
        <p:spPr>
          <a:xfrm>
            <a:off x="9187461" y="3782299"/>
            <a:ext cx="2331278" cy="738130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/>
                <a:cs typeface="Calibri"/>
              </a:rPr>
              <a:t>Interoperability </a:t>
            </a:r>
            <a:r>
              <a:rPr lang="en-US" sz="1200">
                <a:solidFill>
                  <a:schemeClr val="tx1"/>
                </a:solidFill>
                <a:latin typeface="Avenir Next LT Pro"/>
                <a:cs typeface="Calibri"/>
              </a:rPr>
              <a:t>between the RFID Electronic Product Code and Barcode</a:t>
            </a:r>
          </a:p>
        </p:txBody>
      </p:sp>
      <p:sp>
        <p:nvSpPr>
          <p:cNvPr id="16" name="Rectangle: Rounded Corners 19">
            <a:extLst>
              <a:ext uri="{FF2B5EF4-FFF2-40B4-BE49-F238E27FC236}">
                <a16:creationId xmlns:a16="http://schemas.microsoft.com/office/drawing/2014/main" id="{8EEC69EA-AED2-838D-8CC2-F1B63972C0FC}"/>
              </a:ext>
            </a:extLst>
          </p:cNvPr>
          <p:cNvSpPr>
            <a:spLocks/>
          </p:cNvSpPr>
          <p:nvPr/>
        </p:nvSpPr>
        <p:spPr>
          <a:xfrm>
            <a:off x="9187460" y="4652870"/>
            <a:ext cx="2331279" cy="734076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/>
                <a:cs typeface="Calibri"/>
              </a:rPr>
              <a:t>On-demand and batch</a:t>
            </a:r>
            <a:r>
              <a:rPr lang="en-US" sz="1200">
                <a:solidFill>
                  <a:schemeClr val="tx1"/>
                </a:solidFill>
                <a:latin typeface="Avenir Next LT Pro"/>
                <a:cs typeface="Calibri"/>
              </a:rPr>
              <a:t> encode and print as early as point of manufacturing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57488F4C-CA8A-3458-E47A-B33669C58D97}"/>
              </a:ext>
            </a:extLst>
          </p:cNvPr>
          <p:cNvSpPr txBox="1">
            <a:spLocks/>
          </p:cNvSpPr>
          <p:nvPr/>
        </p:nvSpPr>
        <p:spPr>
          <a:xfrm>
            <a:off x="524108" y="2256604"/>
            <a:ext cx="3906126" cy="3208556"/>
          </a:xfrm>
          <a:prstGeom prst="roundRect">
            <a:avLst>
              <a:gd name="adj" fmla="val 5520"/>
            </a:avLst>
          </a:prstGeom>
          <a:noFill/>
          <a:ln w="44450">
            <a:solidFill>
              <a:srgbClr val="FFCB00"/>
            </a:solidFill>
          </a:ln>
        </p:spPr>
        <p:txBody>
          <a:bodyPr lIns="182880" tIns="274320" rIns="18288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3CC87A5F-D6F3-29C0-9A7A-9A0181AB4B0A}"/>
              </a:ext>
            </a:extLst>
          </p:cNvPr>
          <p:cNvSpPr txBox="1">
            <a:spLocks/>
          </p:cNvSpPr>
          <p:nvPr/>
        </p:nvSpPr>
        <p:spPr>
          <a:xfrm>
            <a:off x="1226980" y="3105294"/>
            <a:ext cx="2882772" cy="82514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Encod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2"/>
                </a:solidFill>
                <a:latin typeface="Avenir Next LT Pro" panose="020B0504020202020204" pitchFamily="34" charset="0"/>
              </a:rPr>
              <a:t>For items, a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sset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, </a:t>
            </a:r>
            <a:r>
              <a:rPr lang="en-US" sz="1200">
                <a:solidFill>
                  <a:schemeClr val="tx2"/>
                </a:solidFill>
                <a:latin typeface="Avenir Next LT Pro" panose="020B0504020202020204" pitchFamily="34" charset="0"/>
              </a:rPr>
              <a:t>c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ontainer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, </a:t>
            </a:r>
            <a:r>
              <a:rPr lang="en-US" sz="1200">
                <a:solidFill>
                  <a:schemeClr val="tx2"/>
                </a:solidFill>
                <a:latin typeface="Avenir Next LT Pro" panose="020B0504020202020204" pitchFamily="34" charset="0"/>
              </a:rPr>
              <a:t>r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eturnable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, and shipmen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Common Business Vocabular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For </a:t>
            </a:r>
            <a:r>
              <a:rPr lang="en-US" sz="1200" err="1">
                <a:solidFill>
                  <a:schemeClr val="tx2"/>
                </a:solidFill>
                <a:latin typeface="Avenir Next LT Pro" panose="020B0504020202020204" pitchFamily="34" charset="0"/>
              </a:rPr>
              <a:t>i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ntegratio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 across the supply chain with consistent messaging standard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>
              <a:defRPr/>
            </a:pPr>
            <a:r>
              <a:rPr lang="en-US" sz="1400">
                <a:solidFill>
                  <a:schemeClr val="tx2"/>
                </a:solidFill>
                <a:latin typeface="Avenir Next LT Pro Demi"/>
              </a:rPr>
              <a:t>Agnostic Identification Platform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 Dem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Use multiple technologies including human-readable for tracking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564B9F5-B0BA-17F3-D92D-4C5177F45B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0323" y="3206610"/>
            <a:ext cx="189269" cy="15141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129F449-1AB2-7BA7-9D5E-8AA3B0DCEB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0323" y="3917410"/>
            <a:ext cx="189269" cy="15141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6DBFD90-1171-E2A4-F8B0-10C2614ABC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0323" y="4612228"/>
            <a:ext cx="189269" cy="15141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61D4A96-1FD2-A1E1-D96E-25744B7CCCA3}"/>
              </a:ext>
            </a:extLst>
          </p:cNvPr>
          <p:cNvSpPr txBox="1"/>
          <p:nvPr/>
        </p:nvSpPr>
        <p:spPr>
          <a:xfrm>
            <a:off x="870727" y="2594340"/>
            <a:ext cx="3391493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Global Identification Strategy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64C2779-CBB8-D618-D5F5-45BE75ED2E3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20BA6A7A-E3D1-F6D8-5860-503EBF0902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25" name="Subtitle 49">
            <a:extLst>
              <a:ext uri="{FF2B5EF4-FFF2-40B4-BE49-F238E27FC236}">
                <a16:creationId xmlns:a16="http://schemas.microsoft.com/office/drawing/2014/main" id="{97BCFF96-0153-FA8C-296F-480D8A16D71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9914944-2F3A-B5F7-9655-CB4203CB4B85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Electronic Product Code Serialized Identification Tag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4F804D4-B7DE-2682-3E43-402B07BE3B2E}"/>
              </a:ext>
            </a:extLst>
          </p:cNvPr>
          <p:cNvSpPr txBox="1">
            <a:spLocks/>
          </p:cNvSpPr>
          <p:nvPr/>
        </p:nvSpPr>
        <p:spPr>
          <a:xfrm>
            <a:off x="8974034" y="2256603"/>
            <a:ext cx="2817799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 sz="2400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Best in </a:t>
            </a:r>
            <a:r>
              <a:rPr lang="pt-BR" sz="2400" err="1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Class</a:t>
            </a:r>
            <a:endParaRPr lang="pt-BR" sz="2400">
              <a:solidFill>
                <a:srgbClr val="FFCB00"/>
              </a:solidFill>
              <a:latin typeface="Avenir Next LT Pro Demi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4BB1035-C714-4542-C172-AF346FAAEC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28435" y="2692954"/>
            <a:ext cx="3429000" cy="260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8705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C0DD989-CF1B-BDB9-36FA-40F2785B6A3D}"/>
              </a:ext>
            </a:extLst>
          </p:cNvPr>
          <p:cNvSpPr/>
          <p:nvPr/>
        </p:nvSpPr>
        <p:spPr>
          <a:xfrm>
            <a:off x="8507012" y="24890"/>
            <a:ext cx="3684988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08835A-33B1-D3D8-0C44-EA0495298FE7}"/>
              </a:ext>
            </a:extLst>
          </p:cNvPr>
          <p:cNvSpPr txBox="1"/>
          <p:nvPr/>
        </p:nvSpPr>
        <p:spPr>
          <a:xfrm>
            <a:off x="389255" y="1234592"/>
            <a:ext cx="6381659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Automated content verification without manual staging and unboxing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12" name="Subtitle 49">
            <a:extLst>
              <a:ext uri="{FF2B5EF4-FFF2-40B4-BE49-F238E27FC236}">
                <a16:creationId xmlns:a16="http://schemas.microsoft.com/office/drawing/2014/main" id="{A2C717CD-3BE9-6DF5-6ECE-BF51C5477F91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5098325-9D40-8FDC-5D39-9213578FBFD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46" name="Rectangle: Rounded Corners 184">
            <a:extLst>
              <a:ext uri="{FF2B5EF4-FFF2-40B4-BE49-F238E27FC236}">
                <a16:creationId xmlns:a16="http://schemas.microsoft.com/office/drawing/2014/main" id="{C68AC10D-E931-2C50-AE10-8BC9ECC5A39A}"/>
              </a:ext>
            </a:extLst>
          </p:cNvPr>
          <p:cNvSpPr>
            <a:spLocks/>
          </p:cNvSpPr>
          <p:nvPr/>
        </p:nvSpPr>
        <p:spPr>
          <a:xfrm>
            <a:off x="9205737" y="2761213"/>
            <a:ext cx="2331278" cy="879280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/>
                <a:cs typeface="Calibri"/>
              </a:rPr>
              <a:t>Orchestrated read event </a:t>
            </a:r>
            <a:r>
              <a:rPr lang="en-US" sz="1200">
                <a:solidFill>
                  <a:schemeClr val="tx1"/>
                </a:solidFill>
                <a:latin typeface="Avenir Next LT Pro"/>
                <a:cs typeface="Calibri"/>
              </a:rPr>
              <a:t>with controlled read zones leveraging sensors and imagers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47" name="Rectangle: Rounded Corners 18">
            <a:extLst>
              <a:ext uri="{FF2B5EF4-FFF2-40B4-BE49-F238E27FC236}">
                <a16:creationId xmlns:a16="http://schemas.microsoft.com/office/drawing/2014/main" id="{5028CF89-801E-29D3-175C-30F19B43972E}"/>
              </a:ext>
            </a:extLst>
          </p:cNvPr>
          <p:cNvSpPr>
            <a:spLocks/>
          </p:cNvSpPr>
          <p:nvPr/>
        </p:nvSpPr>
        <p:spPr>
          <a:xfrm>
            <a:off x="9205737" y="3750983"/>
            <a:ext cx="2331278" cy="738130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/>
                <a:cs typeface="Calibri"/>
              </a:rPr>
              <a:t>Alarming </a:t>
            </a:r>
            <a:r>
              <a:rPr lang="en-US" sz="1200">
                <a:solidFill>
                  <a:schemeClr val="tx1"/>
                </a:solidFill>
                <a:latin typeface="Avenir Next LT Pro"/>
                <a:cs typeface="Calibri"/>
              </a:rPr>
              <a:t>for incorrect product and quantity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48" name="Rectangle: Rounded Corners 19">
            <a:extLst>
              <a:ext uri="{FF2B5EF4-FFF2-40B4-BE49-F238E27FC236}">
                <a16:creationId xmlns:a16="http://schemas.microsoft.com/office/drawing/2014/main" id="{12D72730-E364-87FA-493E-9AF65D757127}"/>
              </a:ext>
            </a:extLst>
          </p:cNvPr>
          <p:cNvSpPr>
            <a:spLocks/>
          </p:cNvSpPr>
          <p:nvPr/>
        </p:nvSpPr>
        <p:spPr>
          <a:xfrm>
            <a:off x="9205737" y="4599603"/>
            <a:ext cx="2331279" cy="734076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Automated aggregation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of individual items within the parent container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091BBE42-42FC-234B-5360-00520538A9A6}"/>
              </a:ext>
            </a:extLst>
          </p:cNvPr>
          <p:cNvSpPr txBox="1">
            <a:spLocks/>
          </p:cNvSpPr>
          <p:nvPr/>
        </p:nvSpPr>
        <p:spPr>
          <a:xfrm>
            <a:off x="476234" y="2421233"/>
            <a:ext cx="2601448" cy="3395638"/>
          </a:xfrm>
          <a:prstGeom prst="roundRect">
            <a:avLst>
              <a:gd name="adj" fmla="val 5520"/>
            </a:avLst>
          </a:prstGeom>
          <a:noFill/>
          <a:ln w="44450">
            <a:solidFill>
              <a:srgbClr val="FFCB00"/>
            </a:solidFill>
          </a:ln>
        </p:spPr>
        <p:txBody>
          <a:bodyPr lIns="182880" tIns="274320" rIns="18288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58" name="Title 2">
            <a:extLst>
              <a:ext uri="{FF2B5EF4-FFF2-40B4-BE49-F238E27FC236}">
                <a16:creationId xmlns:a16="http://schemas.microsoft.com/office/drawing/2014/main" id="{094084CB-1C96-2226-B8CF-3C55DAEBFCD6}"/>
              </a:ext>
            </a:extLst>
          </p:cNvPr>
          <p:cNvSpPr txBox="1">
            <a:spLocks/>
          </p:cNvSpPr>
          <p:nvPr/>
        </p:nvSpPr>
        <p:spPr>
          <a:xfrm>
            <a:off x="1040939" y="3276485"/>
            <a:ext cx="2060606" cy="82514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Item Level Visibili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2"/>
                </a:solidFill>
                <a:latin typeface="Avenir Next LT Pro" panose="020B0504020202020204" pitchFamily="34" charset="0"/>
              </a:rPr>
              <a:t>C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onten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 verification without human interven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Pack Validation</a:t>
            </a:r>
          </a:p>
          <a:p>
            <a:pPr>
              <a:defRPr/>
            </a:pPr>
            <a:r>
              <a:rPr lang="en-US" sz="1200">
                <a:solidFill>
                  <a:schemeClr val="tx2"/>
                </a:solidFill>
                <a:latin typeface="Avenir Next LT Pro" panose="020B0504020202020204" pitchFamily="34" charset="0"/>
              </a:rPr>
              <a:t>P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ublishe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 to integrated ERP/WMS</a:t>
            </a:r>
            <a:endParaRPr lang="en-US" sz="1600">
              <a:solidFill>
                <a:schemeClr val="tx2"/>
              </a:solidFill>
              <a:latin typeface="Avenir Next LT Pro Demi" panose="020B07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chemeClr val="tx2"/>
                </a:solidFill>
                <a:latin typeface="Avenir Next LT Pro Demi"/>
              </a:rPr>
              <a:t>Ord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/>
              </a:rPr>
              <a:t> Verification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 Dem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/>
              </a:rPr>
              <a:t>Instant cross-check </a:t>
            </a:r>
            <a:r>
              <a:rPr lang="en-US" sz="1200">
                <a:solidFill>
                  <a:schemeClr val="tx2"/>
                </a:solidFill>
                <a:latin typeface="Avenir Next LT Pro"/>
              </a:rPr>
              <a:t>and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/>
              </a:rPr>
              <a:t> alarming capability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/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A59B6D03-E97B-8455-D4D9-FD4ED94F31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2660" y="3395389"/>
            <a:ext cx="189269" cy="151415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D7C3E4E6-19AC-4205-EE37-6EAF8D7B67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2660" y="4242710"/>
            <a:ext cx="189269" cy="151415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CB9C7360-6417-4E01-155C-3A455F23DD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2660" y="4953568"/>
            <a:ext cx="189269" cy="151415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35CE3D18-4D18-9945-0C2F-3CE02B83105D}"/>
              </a:ext>
            </a:extLst>
          </p:cNvPr>
          <p:cNvSpPr txBox="1"/>
          <p:nvPr/>
        </p:nvSpPr>
        <p:spPr>
          <a:xfrm>
            <a:off x="671891" y="2604582"/>
            <a:ext cx="2304508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chemeClr val="tx2">
                    <a:lumMod val="50000"/>
                    <a:lumOff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Verif</a:t>
            </a:r>
            <a:r>
              <a:rPr lang="en-US" sz="1600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y Without Ever Opening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1D690EE1-0EC7-E11D-EAC2-5B03AE3AF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en-US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2.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Order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Fulfill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9405494-2249-B914-2216-0D9D17035ED4}"/>
              </a:ext>
            </a:extLst>
          </p:cNvPr>
          <p:cNvSpPr txBox="1">
            <a:spLocks/>
          </p:cNvSpPr>
          <p:nvPr/>
        </p:nvSpPr>
        <p:spPr>
          <a:xfrm>
            <a:off x="8974034" y="2256603"/>
            <a:ext cx="2817799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 sz="2400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Best in </a:t>
            </a:r>
            <a:r>
              <a:rPr lang="pt-BR" sz="2400" err="1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Class</a:t>
            </a:r>
            <a:endParaRPr lang="pt-BR" sz="2400">
              <a:solidFill>
                <a:srgbClr val="FFCB00"/>
              </a:solidFill>
              <a:latin typeface="Avenir Next LT Pro Demi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9F88887-CBD1-21F7-39DA-C5CA5C547C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1674" y="3747368"/>
            <a:ext cx="3429000" cy="27717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35CB070-CF99-F196-971B-F6DA59C784C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37829" y="2404487"/>
            <a:ext cx="410397" cy="484155"/>
          </a:xfrm>
          <a:prstGeom prst="rect">
            <a:avLst/>
          </a:prstGeom>
        </p:spPr>
      </p:pic>
      <p:pic>
        <p:nvPicPr>
          <p:cNvPr id="14" name="Graphic 6">
            <a:extLst>
              <a:ext uri="{FF2B5EF4-FFF2-40B4-BE49-F238E27FC236}">
                <a16:creationId xmlns:a16="http://schemas.microsoft.com/office/drawing/2014/main" id="{A0BEAD30-C9E7-6A7B-42B6-42539816027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567582" y="5030619"/>
            <a:ext cx="343294" cy="34329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30179FE-AEF2-32FC-73BE-97C72CB2F4F5}"/>
              </a:ext>
            </a:extLst>
          </p:cNvPr>
          <p:cNvSpPr txBox="1"/>
          <p:nvPr/>
        </p:nvSpPr>
        <p:spPr>
          <a:xfrm flipH="1">
            <a:off x="6039721" y="2160304"/>
            <a:ext cx="21038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r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Packaging Detail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C00000"/>
                </a:solidFill>
                <a:latin typeface="Avenir Next LT Pro" panose="020B0504020202020204" pitchFamily="34" charset="0"/>
              </a:rPr>
              <a:t>Quant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Order to delivery tim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err="1">
                <a:solidFill>
                  <a:srgbClr val="00B050"/>
                </a:solidFill>
                <a:latin typeface="Avenir Next LT Pro" panose="020B0504020202020204" pitchFamily="34" charset="0"/>
              </a:rPr>
              <a:t>Pickwave</a:t>
            </a:r>
            <a:endParaRPr lang="en-US" sz="1200">
              <a:solidFill>
                <a:srgbClr val="00B050"/>
              </a:solidFill>
              <a:latin typeface="Avenir Next LT Pro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00B050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16" name="Graphic 6">
            <a:extLst>
              <a:ext uri="{FF2B5EF4-FFF2-40B4-BE49-F238E27FC236}">
                <a16:creationId xmlns:a16="http://schemas.microsoft.com/office/drawing/2014/main" id="{93BD8F3F-631A-F940-90FC-E970CFF530DE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43326" y="2209674"/>
            <a:ext cx="186770" cy="186770"/>
          </a:xfrm>
          <a:prstGeom prst="rect">
            <a:avLst/>
          </a:prstGeom>
        </p:spPr>
      </p:pic>
      <p:pic>
        <p:nvPicPr>
          <p:cNvPr id="17" name="Graphic 6">
            <a:extLst>
              <a:ext uri="{FF2B5EF4-FFF2-40B4-BE49-F238E27FC236}">
                <a16:creationId xmlns:a16="http://schemas.microsoft.com/office/drawing/2014/main" id="{72273F75-C0E3-EE6F-8C19-D9F173424434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43326" y="2387673"/>
            <a:ext cx="186770" cy="18677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408EA6C2-7BBF-19D0-6028-753D286EA62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5400000" flipH="1">
            <a:off x="4946597" y="3321197"/>
            <a:ext cx="201694" cy="467080"/>
          </a:xfrm>
          <a:prstGeom prst="rect">
            <a:avLst/>
          </a:prstGeom>
        </p:spPr>
      </p:pic>
      <p:pic>
        <p:nvPicPr>
          <p:cNvPr id="19" name="Graphic 6">
            <a:extLst>
              <a:ext uri="{FF2B5EF4-FFF2-40B4-BE49-F238E27FC236}">
                <a16:creationId xmlns:a16="http://schemas.microsoft.com/office/drawing/2014/main" id="{862DFE63-B668-4183-246D-88709C1D3F4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43325" y="2574443"/>
            <a:ext cx="186770" cy="186770"/>
          </a:xfrm>
          <a:prstGeom prst="rect">
            <a:avLst/>
          </a:prstGeom>
        </p:spPr>
      </p:pic>
      <p:pic>
        <p:nvPicPr>
          <p:cNvPr id="20" name="Graphic 6" descr="Badge Cross outline">
            <a:extLst>
              <a:ext uri="{FF2B5EF4-FFF2-40B4-BE49-F238E27FC236}">
                <a16:creationId xmlns:a16="http://schemas.microsoft.com/office/drawing/2014/main" id="{D4AC58CB-FEAB-6359-D2D6-D54A01A2095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43325" y="2752442"/>
            <a:ext cx="186770" cy="186770"/>
          </a:xfrm>
          <a:prstGeom prst="rect">
            <a:avLst/>
          </a:prstGeom>
        </p:spPr>
      </p:pic>
      <p:pic>
        <p:nvPicPr>
          <p:cNvPr id="22" name="Graphic 6">
            <a:extLst>
              <a:ext uri="{FF2B5EF4-FFF2-40B4-BE49-F238E27FC236}">
                <a16:creationId xmlns:a16="http://schemas.microsoft.com/office/drawing/2014/main" id="{99F48F9C-6F03-F8D2-7315-5A00631BF3DE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43325" y="2942078"/>
            <a:ext cx="186770" cy="186770"/>
          </a:xfrm>
          <a:prstGeom prst="rect">
            <a:avLst/>
          </a:prstGeom>
        </p:spPr>
      </p:pic>
      <p:pic>
        <p:nvPicPr>
          <p:cNvPr id="25" name="Graphic 6">
            <a:extLst>
              <a:ext uri="{FF2B5EF4-FFF2-40B4-BE49-F238E27FC236}">
                <a16:creationId xmlns:a16="http://schemas.microsoft.com/office/drawing/2014/main" id="{4601A818-A9F2-E7EC-3057-A9CA64BF075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5843325" y="3131714"/>
            <a:ext cx="186770" cy="186770"/>
          </a:xfrm>
          <a:prstGeom prst="rect">
            <a:avLst/>
          </a:prstGeom>
        </p:spPr>
      </p:pic>
      <p:pic>
        <p:nvPicPr>
          <p:cNvPr id="27" name="Graphic 6" descr="Badge Cross outline">
            <a:extLst>
              <a:ext uri="{FF2B5EF4-FFF2-40B4-BE49-F238E27FC236}">
                <a16:creationId xmlns:a16="http://schemas.microsoft.com/office/drawing/2014/main" id="{9EBEFEED-3F84-7DC6-9E3D-46D1A3FD3899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805809" y="4479906"/>
            <a:ext cx="343294" cy="343294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0416B771-4A8D-0C56-B4E6-529BDB06DC27}"/>
              </a:ext>
            </a:extLst>
          </p:cNvPr>
          <p:cNvSpPr txBox="1"/>
          <p:nvPr/>
        </p:nvSpPr>
        <p:spPr>
          <a:xfrm flipH="1">
            <a:off x="6107735" y="4428679"/>
            <a:ext cx="2103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ontent Verification without opening the box</a:t>
            </a:r>
            <a:endParaRPr lang="en-US" sz="1200">
              <a:solidFill>
                <a:srgbClr val="C00000"/>
              </a:solidFill>
              <a:latin typeface="Avenir Next LT Pro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00B050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663FE24A-CA4D-A2A8-F012-E50F7B79F05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409138" y="2210846"/>
            <a:ext cx="1294086" cy="112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2211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4C3981-F6A6-A2D6-CAC4-890C114127ED}"/>
              </a:ext>
            </a:extLst>
          </p:cNvPr>
          <p:cNvSpPr/>
          <p:nvPr/>
        </p:nvSpPr>
        <p:spPr>
          <a:xfrm>
            <a:off x="8500853" y="9331"/>
            <a:ext cx="3684988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CDFC39E9-0AF2-4D23-1480-58A8F5031869}"/>
              </a:ext>
            </a:extLst>
          </p:cNvPr>
          <p:cNvSpPr txBox="1">
            <a:spLocks/>
          </p:cNvSpPr>
          <p:nvPr/>
        </p:nvSpPr>
        <p:spPr>
          <a:xfrm>
            <a:off x="492619" y="2490223"/>
            <a:ext cx="2795016" cy="3295748"/>
          </a:xfrm>
          <a:prstGeom prst="roundRect">
            <a:avLst>
              <a:gd name="adj" fmla="val 5520"/>
            </a:avLst>
          </a:prstGeom>
          <a:noFill/>
          <a:ln w="44450">
            <a:solidFill>
              <a:srgbClr val="FFCB00"/>
            </a:solidFill>
          </a:ln>
        </p:spPr>
        <p:txBody>
          <a:bodyPr lIns="182880" tIns="274320" rIns="18288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3CB59839-F1AE-FCE4-2F97-11E92AB943A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8402" y="2797912"/>
            <a:ext cx="1827281" cy="2745705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8" name="Rectangle: Rounded Corners 184">
            <a:extLst>
              <a:ext uri="{FF2B5EF4-FFF2-40B4-BE49-F238E27FC236}">
                <a16:creationId xmlns:a16="http://schemas.microsoft.com/office/drawing/2014/main" id="{719F1855-DB51-15AB-10D4-2485B9906978}"/>
              </a:ext>
            </a:extLst>
          </p:cNvPr>
          <p:cNvSpPr>
            <a:spLocks/>
          </p:cNvSpPr>
          <p:nvPr/>
        </p:nvSpPr>
        <p:spPr>
          <a:xfrm>
            <a:off x="9105106" y="3019902"/>
            <a:ext cx="2490443" cy="835189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Fastest Cycle Counting: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Cycle count data captured in minutes instead of days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3A6EE31-21C0-F014-C648-B54907C6C240}"/>
              </a:ext>
            </a:extLst>
          </p:cNvPr>
          <p:cNvSpPr>
            <a:spLocks/>
          </p:cNvSpPr>
          <p:nvPr/>
        </p:nvSpPr>
        <p:spPr>
          <a:xfrm>
            <a:off x="9095532" y="3965315"/>
            <a:ext cx="2500017" cy="835189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/>
                <a:cs typeface="Calibri"/>
              </a:rPr>
              <a:t>Most Accurate </a:t>
            </a:r>
            <a:r>
              <a:rPr lang="en-US" sz="1200" b="1" err="1">
                <a:solidFill>
                  <a:schemeClr val="tx1"/>
                </a:solidFill>
                <a:latin typeface="Avenir Next LT Pro"/>
                <a:cs typeface="Calibri"/>
              </a:rPr>
              <a:t>Locationing</a:t>
            </a:r>
            <a:r>
              <a:rPr lang="en-US" sz="1200">
                <a:solidFill>
                  <a:schemeClr val="tx1"/>
                </a:solidFill>
                <a:latin typeface="Avenir Next LT Pro"/>
                <a:cs typeface="Calibri"/>
              </a:rPr>
              <a:t>: Direct operator to the right location the first time</a:t>
            </a:r>
            <a:endParaRPr lang="en-IN" sz="1200">
              <a:solidFill>
                <a:schemeClr val="tx1"/>
              </a:solidFill>
              <a:latin typeface="Avenir Next LT Pro"/>
              <a:cs typeface="Calibri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64D4BF0-2346-9489-8207-27077F68A14F}"/>
              </a:ext>
            </a:extLst>
          </p:cNvPr>
          <p:cNvSpPr>
            <a:spLocks/>
          </p:cNvSpPr>
          <p:nvPr/>
        </p:nvSpPr>
        <p:spPr>
          <a:xfrm>
            <a:off x="9095532" y="4910728"/>
            <a:ext cx="2500017" cy="831576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Identify Significant Variation: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Compare found to expected to prioritize problem-solving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952275E2-AA6C-62C5-C051-B505F2B0555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33124" y="3048764"/>
            <a:ext cx="680867" cy="1636699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4EF2C1F3-0B38-4667-3377-9DFB78753A6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8824175" flipH="1">
            <a:off x="7070991" y="3593306"/>
            <a:ext cx="179176" cy="414932"/>
          </a:xfrm>
          <a:prstGeom prst="rect">
            <a:avLst/>
          </a:prstGeom>
        </p:spPr>
      </p:pic>
      <p:sp>
        <p:nvSpPr>
          <p:cNvPr id="27" name="Title 2">
            <a:extLst>
              <a:ext uri="{FF2B5EF4-FFF2-40B4-BE49-F238E27FC236}">
                <a16:creationId xmlns:a16="http://schemas.microsoft.com/office/drawing/2014/main" id="{1B0A5494-A2E8-FB1C-9101-C23FD3682C03}"/>
              </a:ext>
            </a:extLst>
          </p:cNvPr>
          <p:cNvSpPr txBox="1">
            <a:spLocks/>
          </p:cNvSpPr>
          <p:nvPr/>
        </p:nvSpPr>
        <p:spPr>
          <a:xfrm>
            <a:off x="863335" y="3336140"/>
            <a:ext cx="2341334" cy="82514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Automated Cycle Counting</a:t>
            </a:r>
          </a:p>
          <a:p>
            <a:pP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Confidence in your on-hand inventor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Realtime Inventory Overview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chemeClr val="tx2"/>
                </a:solidFill>
                <a:latin typeface="Avenir Next LT Pro" panose="020B0504020202020204" pitchFamily="34" charset="0"/>
              </a:rPr>
              <a:t>K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now where your products are and when they mov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chemeClr val="tx2"/>
              </a:solidFill>
              <a:latin typeface="Avenir Next LT Pro" panose="020B05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Product Ag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Understand individual asset journey through facility</a:t>
            </a:r>
            <a:endParaRPr lang="en-US" sz="1200">
              <a:solidFill>
                <a:schemeClr val="tx2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9F5C751B-9A00-8FB3-B71A-A82B91BC738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4066" y="3465137"/>
            <a:ext cx="189269" cy="151415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058F77CD-9F66-94DB-3B8C-5975C27F488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4066" y="4348034"/>
            <a:ext cx="189269" cy="15141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871186C3-CE7E-15DD-5FFD-048B545653F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4066" y="5233052"/>
            <a:ext cx="189269" cy="15141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B0C832F-8B9F-123A-CAEC-603A49867384}"/>
              </a:ext>
            </a:extLst>
          </p:cNvPr>
          <p:cNvSpPr txBox="1"/>
          <p:nvPr/>
        </p:nvSpPr>
        <p:spPr>
          <a:xfrm>
            <a:off x="549009" y="2609324"/>
            <a:ext cx="2689501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50000"/>
                    <a:lumOff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Industry Leading </a:t>
            </a:r>
            <a:r>
              <a:rPr lang="en-US" sz="1600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Inventory Managemen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C445EF-EC7A-8B01-30A5-E2B1F934F4B1}"/>
              </a:ext>
            </a:extLst>
          </p:cNvPr>
          <p:cNvSpPr txBox="1"/>
          <p:nvPr/>
        </p:nvSpPr>
        <p:spPr>
          <a:xfrm>
            <a:off x="389255" y="1234592"/>
            <a:ext cx="6381659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End-to-end inventory visibility with automated cycle counting in minute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37" name="Subtitle 49">
            <a:extLst>
              <a:ext uri="{FF2B5EF4-FFF2-40B4-BE49-F238E27FC236}">
                <a16:creationId xmlns:a16="http://schemas.microsoft.com/office/drawing/2014/main" id="{DB53A8E5-A4DC-8E17-6CBE-7C5F98D4151F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6B71531F-3192-8B27-4B88-FD898C7D803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id="{5B4CFF12-22A3-0156-0C9A-D80F4BDA8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en-US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3. 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Inventory Management          </a:t>
            </a:r>
            <a:endParaRPr lang="en-GB">
              <a:solidFill>
                <a:schemeClr val="tx2"/>
              </a:solidFill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F123BF69-A0E6-CC92-A14A-3B643FD1C0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1356" y="3358743"/>
            <a:ext cx="1827281" cy="274570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252390F-DA3F-4CD4-AA38-24C36489A6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552762" flipH="1">
            <a:off x="5886763" y="3604794"/>
            <a:ext cx="1023941" cy="1396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B58300D-7082-2063-B883-7E0B34C2DDFA}"/>
              </a:ext>
            </a:extLst>
          </p:cNvPr>
          <p:cNvSpPr txBox="1">
            <a:spLocks/>
          </p:cNvSpPr>
          <p:nvPr/>
        </p:nvSpPr>
        <p:spPr>
          <a:xfrm>
            <a:off x="8974034" y="2422802"/>
            <a:ext cx="2817799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 sz="2400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Best in </a:t>
            </a:r>
            <a:r>
              <a:rPr lang="pt-BR" sz="2400" err="1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Class</a:t>
            </a:r>
            <a:endParaRPr lang="pt-BR" sz="2400">
              <a:solidFill>
                <a:srgbClr val="FFCB00"/>
              </a:solidFill>
              <a:latin typeface="Avenir Next LT Pro Demi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71AC48E-E522-EB92-CF2B-58BDF53996A7}"/>
              </a:ext>
            </a:extLst>
          </p:cNvPr>
          <p:cNvSpPr/>
          <p:nvPr/>
        </p:nvSpPr>
        <p:spPr>
          <a:xfrm>
            <a:off x="6533695" y="3794071"/>
            <a:ext cx="520293" cy="498598"/>
          </a:xfrm>
          <a:prstGeom prst="ellipse">
            <a:avLst/>
          </a:prstGeom>
          <a:solidFill>
            <a:srgbClr val="E2C9B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2E69333-66BA-624B-B814-36CAC583AD82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576009" y="3958524"/>
            <a:ext cx="432000" cy="16161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471558D-8E1E-403E-F61B-B8536F840F2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371784" y="4913924"/>
            <a:ext cx="1009650" cy="8763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4F3930D2-2085-4338-DCF3-E4DFBD0206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624814" y="5049578"/>
            <a:ext cx="504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579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phic 51">
            <a:extLst>
              <a:ext uri="{FF2B5EF4-FFF2-40B4-BE49-F238E27FC236}">
                <a16:creationId xmlns:a16="http://schemas.microsoft.com/office/drawing/2014/main" id="{81B249EC-E7EA-BB78-D0C1-474117B4FA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999937" y="4435669"/>
            <a:ext cx="1100479" cy="1233504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73EF2E09-1D43-7F57-2C7A-8CF509C3626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3925883" y="4766941"/>
            <a:ext cx="1656165" cy="130833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D5618D6-2487-FC8D-0B5D-1C6F4EC0D26E}"/>
              </a:ext>
            </a:extLst>
          </p:cNvPr>
          <p:cNvSpPr/>
          <p:nvPr/>
        </p:nvSpPr>
        <p:spPr>
          <a:xfrm>
            <a:off x="8500853" y="9331"/>
            <a:ext cx="3684988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28998B92-85B5-075F-0288-07ECD27EE16F}"/>
              </a:ext>
            </a:extLst>
          </p:cNvPr>
          <p:cNvSpPr txBox="1">
            <a:spLocks/>
          </p:cNvSpPr>
          <p:nvPr/>
        </p:nvSpPr>
        <p:spPr>
          <a:xfrm>
            <a:off x="522033" y="2159276"/>
            <a:ext cx="2554544" cy="3199175"/>
          </a:xfrm>
          <a:prstGeom prst="roundRect">
            <a:avLst>
              <a:gd name="adj" fmla="val 5520"/>
            </a:avLst>
          </a:prstGeom>
          <a:noFill/>
          <a:ln w="44450">
            <a:solidFill>
              <a:srgbClr val="FFCB00"/>
            </a:solidFill>
          </a:ln>
        </p:spPr>
        <p:txBody>
          <a:bodyPr lIns="182880" tIns="274320" rIns="18288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33" name="Rectangle: Rounded Corners 184">
            <a:extLst>
              <a:ext uri="{FF2B5EF4-FFF2-40B4-BE49-F238E27FC236}">
                <a16:creationId xmlns:a16="http://schemas.microsoft.com/office/drawing/2014/main" id="{4BA1A253-F8AA-4C58-98ED-371C35B2B6B1}"/>
              </a:ext>
            </a:extLst>
          </p:cNvPr>
          <p:cNvSpPr>
            <a:spLocks/>
          </p:cNvSpPr>
          <p:nvPr/>
        </p:nvSpPr>
        <p:spPr>
          <a:xfrm>
            <a:off x="9184602" y="2996095"/>
            <a:ext cx="2331278" cy="738130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Differentiate by asset type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with unique DNA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34" name="Rectangle: Rounded Corners 18">
            <a:extLst>
              <a:ext uri="{FF2B5EF4-FFF2-40B4-BE49-F238E27FC236}">
                <a16:creationId xmlns:a16="http://schemas.microsoft.com/office/drawing/2014/main" id="{A217DA7C-6056-B730-B579-AE2C16444D4B}"/>
              </a:ext>
            </a:extLst>
          </p:cNvPr>
          <p:cNvSpPr>
            <a:spLocks/>
          </p:cNvSpPr>
          <p:nvPr/>
        </p:nvSpPr>
        <p:spPr>
          <a:xfrm>
            <a:off x="9175703" y="3866666"/>
            <a:ext cx="2331278" cy="738130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Asset utilization and aging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report with asset history traceability 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F0E77C-F7C3-400B-C5D5-F9CD51C03B32}"/>
              </a:ext>
            </a:extLst>
          </p:cNvPr>
          <p:cNvSpPr txBox="1"/>
          <p:nvPr/>
        </p:nvSpPr>
        <p:spPr>
          <a:xfrm>
            <a:off x="389255" y="1234592"/>
            <a:ext cx="6381659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Asset Visibility Across Suppliers, Manufacturers, Distributors, and Customers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B4B8B94A-6CD3-F348-1B39-6653EA1CD946}"/>
              </a:ext>
            </a:extLst>
          </p:cNvPr>
          <p:cNvSpPr txBox="1">
            <a:spLocks/>
          </p:cNvSpPr>
          <p:nvPr/>
        </p:nvSpPr>
        <p:spPr>
          <a:xfrm>
            <a:off x="868653" y="2807700"/>
            <a:ext cx="2225471" cy="825147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/>
              </a:rPr>
              <a:t>Serialized </a:t>
            </a:r>
            <a:r>
              <a:rPr lang="en-US" sz="1400">
                <a:solidFill>
                  <a:schemeClr val="tx2"/>
                </a:solidFill>
                <a:latin typeface="Avenir Next LT Pro Demi"/>
              </a:rPr>
              <a:t>Licens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/>
              </a:rPr>
              <a:t> Plat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/>
              </a:rPr>
              <a:t>For returnable and capital asset tracking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/>
              </a:rPr>
              <a:t>Reducing Waste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 Dem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/>
              </a:rPr>
              <a:t>Fully automated monitoring of inventory, health, aging, and location with no human intervention</a:t>
            </a:r>
            <a:endParaRPr lang="en-US" sz="1600">
              <a:solidFill>
                <a:schemeClr val="tx2"/>
              </a:solidFill>
              <a:latin typeface="Avenir Next LT Pro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>
              <a:defRPr/>
            </a:pPr>
            <a:r>
              <a:rPr lang="en-US" sz="1400">
                <a:solidFill>
                  <a:schemeClr val="tx2"/>
                </a:solidFill>
                <a:latin typeface="Avenir Next LT Pro Demi"/>
              </a:rPr>
              <a:t>Production Reporting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 Dem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/>
              </a:rPr>
              <a:t>Realtime work center health and WIP status</a:t>
            </a:r>
            <a:endParaRPr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/>
            </a:endParaRP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5F648E15-D7F3-1998-74F2-81C0C4A959A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5744" y="2928266"/>
            <a:ext cx="189269" cy="151415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DBDF1DBD-109B-0EC3-9232-D3FBDB8B68C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5744" y="3639067"/>
            <a:ext cx="189269" cy="151415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97AAD997-C1A0-5089-0D9B-98F5B51DAB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5744" y="4652687"/>
            <a:ext cx="189269" cy="15141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E3B8BC1-C585-A58F-CD85-F750A2B9F0F8}"/>
              </a:ext>
            </a:extLst>
          </p:cNvPr>
          <p:cNvSpPr txBox="1"/>
          <p:nvPr/>
        </p:nvSpPr>
        <p:spPr>
          <a:xfrm>
            <a:off x="655744" y="2334897"/>
            <a:ext cx="2963404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Never Lose an Ass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7CD382A7-B95E-EA6D-B032-CF196839EF0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59" name="Title 1">
            <a:extLst>
              <a:ext uri="{FF2B5EF4-FFF2-40B4-BE49-F238E27FC236}">
                <a16:creationId xmlns:a16="http://schemas.microsoft.com/office/drawing/2014/main" id="{40E0DD3A-6DEF-823B-7A3D-EB4C11536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en-US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4.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Returnable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Container Tracking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18" name="Subtitle 49">
            <a:extLst>
              <a:ext uri="{FF2B5EF4-FFF2-40B4-BE49-F238E27FC236}">
                <a16:creationId xmlns:a16="http://schemas.microsoft.com/office/drawing/2014/main" id="{5C584335-3FCE-F882-07A5-9897B8A0C8A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968C9F-9790-A767-7815-FDF8D81E1946}"/>
              </a:ext>
            </a:extLst>
          </p:cNvPr>
          <p:cNvSpPr txBox="1">
            <a:spLocks/>
          </p:cNvSpPr>
          <p:nvPr/>
        </p:nvSpPr>
        <p:spPr>
          <a:xfrm>
            <a:off x="8974034" y="2256603"/>
            <a:ext cx="2817799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 sz="2400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Best in </a:t>
            </a:r>
            <a:r>
              <a:rPr lang="pt-BR" sz="2400" err="1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Class</a:t>
            </a:r>
            <a:endParaRPr lang="pt-BR" sz="2400">
              <a:solidFill>
                <a:srgbClr val="FFCB00"/>
              </a:solidFill>
              <a:latin typeface="Avenir Next LT Pro Demi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F7F75A7-D7FE-3CB5-C113-F3E0239E514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7592" y="4578160"/>
            <a:ext cx="2346969" cy="2346969"/>
          </a:xfrm>
          <a:prstGeom prst="rect">
            <a:avLst/>
          </a:prstGeom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0D624437-5B31-09DE-303A-558EF6209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013913" y="3656041"/>
            <a:ext cx="1187631" cy="1620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91538F1-C65E-0C02-7B79-AD1C7101A90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5400000" flipH="1">
            <a:off x="5786777" y="3266941"/>
            <a:ext cx="200799" cy="46500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130A3BB-8B3A-5CF8-6574-D4A92B768DBB}"/>
              </a:ext>
            </a:extLst>
          </p:cNvPr>
          <p:cNvSpPr txBox="1"/>
          <p:nvPr/>
        </p:nvSpPr>
        <p:spPr>
          <a:xfrm flipH="1">
            <a:off x="6879495" y="1985303"/>
            <a:ext cx="158606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Lo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C00000"/>
                </a:solidFill>
                <a:latin typeface="Avenir Next LT Pro" panose="020B0504020202020204" pitchFamily="34" charset="0"/>
              </a:rPr>
              <a:t>Invent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WIP Stat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C00000"/>
                </a:solidFill>
                <a:latin typeface="Avenir Next LT Pro" panose="020B0504020202020204" pitchFamily="34" charset="0"/>
              </a:rPr>
              <a:t>Util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sset Hist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Storage Lo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Production Lo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00B050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25" name="Graphic 6">
            <a:extLst>
              <a:ext uri="{FF2B5EF4-FFF2-40B4-BE49-F238E27FC236}">
                <a16:creationId xmlns:a16="http://schemas.microsoft.com/office/drawing/2014/main" id="{9CE4B010-C50B-EF4D-DEE8-D1A6C9B51C66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681352" y="2032904"/>
            <a:ext cx="186770" cy="186770"/>
          </a:xfrm>
          <a:prstGeom prst="rect">
            <a:avLst/>
          </a:prstGeom>
        </p:spPr>
      </p:pic>
      <p:pic>
        <p:nvPicPr>
          <p:cNvPr id="26" name="Graphic 6">
            <a:extLst>
              <a:ext uri="{FF2B5EF4-FFF2-40B4-BE49-F238E27FC236}">
                <a16:creationId xmlns:a16="http://schemas.microsoft.com/office/drawing/2014/main" id="{A96B1267-A016-19D6-F538-F5BDCC74078A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692725" y="2212672"/>
            <a:ext cx="186770" cy="186770"/>
          </a:xfrm>
          <a:prstGeom prst="rect">
            <a:avLst/>
          </a:prstGeom>
        </p:spPr>
      </p:pic>
      <p:pic>
        <p:nvPicPr>
          <p:cNvPr id="27" name="Graphic 6">
            <a:extLst>
              <a:ext uri="{FF2B5EF4-FFF2-40B4-BE49-F238E27FC236}">
                <a16:creationId xmlns:a16="http://schemas.microsoft.com/office/drawing/2014/main" id="{3F124970-EA68-1DB0-8EC5-04C21E98BACE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692724" y="2399442"/>
            <a:ext cx="186770" cy="186770"/>
          </a:xfrm>
          <a:prstGeom prst="rect">
            <a:avLst/>
          </a:prstGeom>
        </p:spPr>
      </p:pic>
      <p:pic>
        <p:nvPicPr>
          <p:cNvPr id="28" name="Graphic 6" descr="Badge Cross outline">
            <a:extLst>
              <a:ext uri="{FF2B5EF4-FFF2-40B4-BE49-F238E27FC236}">
                <a16:creationId xmlns:a16="http://schemas.microsoft.com/office/drawing/2014/main" id="{25F80844-29CC-B562-4B39-15F9DA4D0202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92724" y="2577441"/>
            <a:ext cx="186770" cy="186770"/>
          </a:xfrm>
          <a:prstGeom prst="rect">
            <a:avLst/>
          </a:prstGeom>
        </p:spPr>
      </p:pic>
      <p:pic>
        <p:nvPicPr>
          <p:cNvPr id="30" name="Graphic 6">
            <a:extLst>
              <a:ext uri="{FF2B5EF4-FFF2-40B4-BE49-F238E27FC236}">
                <a16:creationId xmlns:a16="http://schemas.microsoft.com/office/drawing/2014/main" id="{C4C84F08-754B-2DF3-DB9B-476590BF302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692724" y="2767077"/>
            <a:ext cx="186770" cy="186770"/>
          </a:xfrm>
          <a:prstGeom prst="rect">
            <a:avLst/>
          </a:prstGeom>
        </p:spPr>
      </p:pic>
      <p:pic>
        <p:nvPicPr>
          <p:cNvPr id="32" name="Graphic 6">
            <a:extLst>
              <a:ext uri="{FF2B5EF4-FFF2-40B4-BE49-F238E27FC236}">
                <a16:creationId xmlns:a16="http://schemas.microsoft.com/office/drawing/2014/main" id="{289DFA42-15B5-5174-C34D-009CB5339D22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692724" y="2956713"/>
            <a:ext cx="186770" cy="186770"/>
          </a:xfrm>
          <a:prstGeom prst="rect">
            <a:avLst/>
          </a:prstGeom>
        </p:spPr>
      </p:pic>
      <p:pic>
        <p:nvPicPr>
          <p:cNvPr id="35" name="Graphic 6">
            <a:extLst>
              <a:ext uri="{FF2B5EF4-FFF2-40B4-BE49-F238E27FC236}">
                <a16:creationId xmlns:a16="http://schemas.microsoft.com/office/drawing/2014/main" id="{E7958064-B49C-0F73-3E91-32FC05D02D4D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692724" y="3131264"/>
            <a:ext cx="186770" cy="18677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539729A-0C6C-3DC1-8F1A-27BBE6CDB4EB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19432">
            <a:off x="5063546" y="5154234"/>
            <a:ext cx="94640" cy="5796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94C0136-F712-05C1-FE7B-56D40CB0A684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0000" y="2220135"/>
            <a:ext cx="604236" cy="604236"/>
          </a:xfrm>
          <a:prstGeom prst="rect">
            <a:avLst/>
          </a:prstGeom>
        </p:spPr>
      </p:pic>
      <p:pic>
        <p:nvPicPr>
          <p:cNvPr id="38" name="Graphic 6" descr="Badge Cross outline">
            <a:extLst>
              <a:ext uri="{FF2B5EF4-FFF2-40B4-BE49-F238E27FC236}">
                <a16:creationId xmlns:a16="http://schemas.microsoft.com/office/drawing/2014/main" id="{886A887B-FE9F-74F9-300A-27FDF3DE70AA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017246" y="2446039"/>
            <a:ext cx="301603" cy="301603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B5E35600-3526-F2A4-FF3D-A13F4A28D6C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58127" y="2041139"/>
            <a:ext cx="1456757" cy="1264355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29E1D013-D93D-853D-0345-5F748541ADB2}"/>
              </a:ext>
            </a:extLst>
          </p:cNvPr>
          <p:cNvSpPr/>
          <p:nvPr/>
        </p:nvSpPr>
        <p:spPr>
          <a:xfrm>
            <a:off x="5608337" y="3736034"/>
            <a:ext cx="520293" cy="498598"/>
          </a:xfrm>
          <a:prstGeom prst="ellipse">
            <a:avLst/>
          </a:prstGeom>
          <a:solidFill>
            <a:srgbClr val="E2C9B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7B3C8E5-EED1-0EF1-7C09-DD155E9D3215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656040" y="3899763"/>
            <a:ext cx="432000" cy="16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3829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59">
            <a:extLst>
              <a:ext uri="{FF2B5EF4-FFF2-40B4-BE49-F238E27FC236}">
                <a16:creationId xmlns:a16="http://schemas.microsoft.com/office/drawing/2014/main" id="{8151B34D-98F2-535F-F612-6B3239E6C909}"/>
              </a:ext>
            </a:extLst>
          </p:cNvPr>
          <p:cNvSpPr/>
          <p:nvPr/>
        </p:nvSpPr>
        <p:spPr>
          <a:xfrm>
            <a:off x="8500853" y="9331"/>
            <a:ext cx="3684988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A141538F-4CB4-FD43-D613-70E1CCEB586C}"/>
              </a:ext>
            </a:extLst>
          </p:cNvPr>
          <p:cNvSpPr txBox="1">
            <a:spLocks/>
          </p:cNvSpPr>
          <p:nvPr/>
        </p:nvSpPr>
        <p:spPr>
          <a:xfrm>
            <a:off x="488819" y="2066560"/>
            <a:ext cx="2433479" cy="3882879"/>
          </a:xfrm>
          <a:prstGeom prst="roundRect">
            <a:avLst>
              <a:gd name="adj" fmla="val 5520"/>
            </a:avLst>
          </a:prstGeom>
          <a:noFill/>
          <a:ln w="44450">
            <a:solidFill>
              <a:srgbClr val="FFCB00"/>
            </a:solidFill>
          </a:ln>
        </p:spPr>
        <p:txBody>
          <a:bodyPr lIns="182880" tIns="274320" rIns="18288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00FD449-B874-9317-F990-3D1E6D1C8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en-US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5.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Ship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8FA942-7F1A-AEBA-25C0-C2466F3D978A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chemeClr val="tx2">
                    <a:lumMod val="50000"/>
                    <a:lumOff val="50000"/>
                  </a:schemeClr>
                </a:solidFill>
                <a:latin typeface="Avenir Next LT Pro Demi" panose="020B0704020202020204" pitchFamily="34" charset="0"/>
              </a:rPr>
              <a:t>Automated Shipping and Receiving Tracking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  <a:lumOff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35" name="Rectangle: Rounded Corners 184">
            <a:extLst>
              <a:ext uri="{FF2B5EF4-FFF2-40B4-BE49-F238E27FC236}">
                <a16:creationId xmlns:a16="http://schemas.microsoft.com/office/drawing/2014/main" id="{5D4B040C-5A73-FA46-6526-6A866FA9E009}"/>
              </a:ext>
            </a:extLst>
          </p:cNvPr>
          <p:cNvSpPr>
            <a:spLocks/>
          </p:cNvSpPr>
          <p:nvPr/>
        </p:nvSpPr>
        <p:spPr>
          <a:xfrm>
            <a:off x="9011934" y="2949160"/>
            <a:ext cx="2742000" cy="717949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Industry-leading accuracy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with controlled read zone behavior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36" name="Rectangle: Rounded Corners 18">
            <a:extLst>
              <a:ext uri="{FF2B5EF4-FFF2-40B4-BE49-F238E27FC236}">
                <a16:creationId xmlns:a16="http://schemas.microsoft.com/office/drawing/2014/main" id="{7CDBC66D-ADD5-E976-AC51-B3CED27993E0}"/>
              </a:ext>
            </a:extLst>
          </p:cNvPr>
          <p:cNvSpPr>
            <a:spLocks/>
          </p:cNvSpPr>
          <p:nvPr/>
        </p:nvSpPr>
        <p:spPr>
          <a:xfrm>
            <a:off x="9011935" y="3833106"/>
            <a:ext cx="2742000" cy="717949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Proprietary approach to managing reads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so that only actual transactions are reported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37" name="Rectangle: Rounded Corners 19">
            <a:extLst>
              <a:ext uri="{FF2B5EF4-FFF2-40B4-BE49-F238E27FC236}">
                <a16:creationId xmlns:a16="http://schemas.microsoft.com/office/drawing/2014/main" id="{9287181D-E26D-67F1-46A1-79795245EB5E}"/>
              </a:ext>
            </a:extLst>
          </p:cNvPr>
          <p:cNvSpPr>
            <a:spLocks/>
          </p:cNvSpPr>
          <p:nvPr/>
        </p:nvSpPr>
        <p:spPr>
          <a:xfrm>
            <a:off x="9011934" y="4707232"/>
            <a:ext cx="2742001" cy="714006"/>
          </a:xfrm>
          <a:prstGeom prst="roundRect">
            <a:avLst>
              <a:gd name="adj" fmla="val 15089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r>
              <a:rPr lang="en-US" sz="1200" b="1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Sub-second event alarming </a:t>
            </a:r>
            <a:r>
              <a:rPr lang="en-US" sz="1200">
                <a:solidFill>
                  <a:schemeClr val="tx1"/>
                </a:solidFill>
                <a:latin typeface="Avenir Next LT Pro" panose="020B0504020202020204" pitchFamily="34" charset="77"/>
                <a:cs typeface="Calibri" panose="020F0502020204030204" pitchFamily="34" charset="0"/>
              </a:rPr>
              <a:t>with efficient and fast publishing</a:t>
            </a:r>
            <a:endParaRPr lang="en-IN" sz="1200">
              <a:solidFill>
                <a:schemeClr val="tx1"/>
              </a:solidFill>
              <a:latin typeface="Avenir Next LT Pro" panose="020B0504020202020204" pitchFamily="34" charset="77"/>
              <a:cs typeface="Calibri" panose="020F0502020204030204" pitchFamily="34" charset="0"/>
            </a:endParaRP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532BB1BA-5565-0B4F-0DAD-BC3441C8365A}"/>
              </a:ext>
            </a:extLst>
          </p:cNvPr>
          <p:cNvSpPr txBox="1">
            <a:spLocks/>
          </p:cNvSpPr>
          <p:nvPr/>
        </p:nvSpPr>
        <p:spPr>
          <a:xfrm>
            <a:off x="892233" y="2871225"/>
            <a:ext cx="1978085" cy="1292541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Automated Verifica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Automated </a:t>
            </a:r>
            <a:r>
              <a:rPr lang="en-US" sz="1200">
                <a:solidFill>
                  <a:schemeClr val="tx2"/>
                </a:solidFill>
                <a:latin typeface="Avenir Next LT Pro" panose="020B0504020202020204" pitchFamily="34" charset="0"/>
              </a:rPr>
              <a:t>tracking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 and verification for trailer loading and unloading interac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Item Level Visibilit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Track and verify shipments to the item level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Status Feedback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Shipment and receipt alarming with status monitoring</a:t>
            </a: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32636516-81F8-2C56-B8E5-9DAA21AB01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3276" y="2995680"/>
            <a:ext cx="189269" cy="151415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784B59B9-5F62-5D69-448D-6CE9B4F6D1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3276" y="4194064"/>
            <a:ext cx="189269" cy="15141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A3A1CB8E-2D61-71F6-050D-3095AC5A36F0}"/>
              </a:ext>
            </a:extLst>
          </p:cNvPr>
          <p:cNvSpPr txBox="1"/>
          <p:nvPr/>
        </p:nvSpPr>
        <p:spPr>
          <a:xfrm>
            <a:off x="683276" y="2195447"/>
            <a:ext cx="2027371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50000"/>
                    <a:lumOff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Read Only What You Need</a:t>
            </a:r>
          </a:p>
        </p:txBody>
      </p:sp>
      <p:sp>
        <p:nvSpPr>
          <p:cNvPr id="59" name="Subtitle 49">
            <a:extLst>
              <a:ext uri="{FF2B5EF4-FFF2-40B4-BE49-F238E27FC236}">
                <a16:creationId xmlns:a16="http://schemas.microsoft.com/office/drawing/2014/main" id="{D8A110F0-1FDF-36D4-8134-FC6D84A7B4B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984F028-FA77-F393-C255-84484C2C45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39CEDE4-A4A0-416D-CC0B-806B409BA3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3276" y="5050087"/>
            <a:ext cx="189269" cy="151415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6AE26450-87D2-A441-54D2-E928F1FED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41C9628-1E14-652A-633C-CD9B8BE9FAB4}"/>
              </a:ext>
            </a:extLst>
          </p:cNvPr>
          <p:cNvSpPr txBox="1">
            <a:spLocks/>
          </p:cNvSpPr>
          <p:nvPr/>
        </p:nvSpPr>
        <p:spPr>
          <a:xfrm>
            <a:off x="8974034" y="2256603"/>
            <a:ext cx="2817799" cy="3323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 sz="2400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Best in </a:t>
            </a:r>
            <a:r>
              <a:rPr lang="pt-BR" sz="2400" err="1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Class</a:t>
            </a:r>
            <a:endParaRPr lang="pt-BR" sz="2400">
              <a:solidFill>
                <a:srgbClr val="FFCB00"/>
              </a:solidFill>
              <a:latin typeface="Avenir Next LT Pro Demi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AF7617C-BD32-4A42-DDEB-39907FC3CEA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7766" y="4462612"/>
            <a:ext cx="1000270" cy="100027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9DBA9F-6D99-A388-D668-E15CA4C29B1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6244988" y="4546435"/>
            <a:ext cx="1075159" cy="73763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EB3C54C-C054-0356-4486-EB989C584AC8}"/>
              </a:ext>
            </a:extLst>
          </p:cNvPr>
          <p:cNvSpPr txBox="1"/>
          <p:nvPr/>
        </p:nvSpPr>
        <p:spPr>
          <a:xfrm flipH="1">
            <a:off x="5894660" y="1851612"/>
            <a:ext cx="205235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C00000"/>
                </a:solidFill>
                <a:latin typeface="Avenir Next LT Pro" panose="020B0504020202020204" pitchFamily="34" charset="0"/>
              </a:rPr>
              <a:t>Quant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Stat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Work Center Histo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Avail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B050"/>
                </a:solidFill>
                <a:latin typeface="Avenir Next LT Pro" panose="020B0504020202020204" pitchFamily="34" charset="0"/>
              </a:rPr>
              <a:t>Equipment Effectiveness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D53C4123-4B67-4CCB-95AB-AFDE336A3E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70012" y="3619529"/>
            <a:ext cx="4609361" cy="2309978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CA74D721-C5FE-20B4-8659-40F7F846912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200000">
            <a:off x="3999875" y="3091043"/>
            <a:ext cx="216379" cy="475534"/>
          </a:xfrm>
          <a:prstGeom prst="rect">
            <a:avLst/>
          </a:prstGeom>
        </p:spPr>
      </p:pic>
      <p:pic>
        <p:nvPicPr>
          <p:cNvPr id="29" name="Graphic 6" descr="Badge Cross outline">
            <a:extLst>
              <a:ext uri="{FF2B5EF4-FFF2-40B4-BE49-F238E27FC236}">
                <a16:creationId xmlns:a16="http://schemas.microsoft.com/office/drawing/2014/main" id="{9E21A3E7-D28C-3767-703A-3379F856C5C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07890" y="2078981"/>
            <a:ext cx="186770" cy="186770"/>
          </a:xfrm>
          <a:prstGeom prst="rect">
            <a:avLst/>
          </a:prstGeom>
        </p:spPr>
      </p:pic>
      <p:pic>
        <p:nvPicPr>
          <p:cNvPr id="30" name="Graphic 6" descr="Badge Cross outline">
            <a:extLst>
              <a:ext uri="{FF2B5EF4-FFF2-40B4-BE49-F238E27FC236}">
                <a16:creationId xmlns:a16="http://schemas.microsoft.com/office/drawing/2014/main" id="{2F1F4BD5-7A15-CDBA-88D5-0A4B0BDF040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07890" y="2268617"/>
            <a:ext cx="186770" cy="186770"/>
          </a:xfrm>
          <a:prstGeom prst="rect">
            <a:avLst/>
          </a:prstGeom>
        </p:spPr>
      </p:pic>
      <p:pic>
        <p:nvPicPr>
          <p:cNvPr id="31" name="Graphic 6">
            <a:extLst>
              <a:ext uri="{FF2B5EF4-FFF2-40B4-BE49-F238E27FC236}">
                <a16:creationId xmlns:a16="http://schemas.microsoft.com/office/drawing/2014/main" id="{68EEE6A8-A8E8-1DD4-7AAE-B2E560F1C68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5707890" y="2458253"/>
            <a:ext cx="186770" cy="186770"/>
          </a:xfrm>
          <a:prstGeom prst="rect">
            <a:avLst/>
          </a:prstGeom>
        </p:spPr>
      </p:pic>
      <p:pic>
        <p:nvPicPr>
          <p:cNvPr id="32" name="Graphic 6">
            <a:extLst>
              <a:ext uri="{FF2B5EF4-FFF2-40B4-BE49-F238E27FC236}">
                <a16:creationId xmlns:a16="http://schemas.microsoft.com/office/drawing/2014/main" id="{23287E4E-6FFF-83F6-4E32-0878A44DDAF2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5707890" y="2635015"/>
            <a:ext cx="186770" cy="186770"/>
          </a:xfrm>
          <a:prstGeom prst="rect">
            <a:avLst/>
          </a:prstGeom>
        </p:spPr>
      </p:pic>
      <p:pic>
        <p:nvPicPr>
          <p:cNvPr id="33" name="Graphic 6">
            <a:extLst>
              <a:ext uri="{FF2B5EF4-FFF2-40B4-BE49-F238E27FC236}">
                <a16:creationId xmlns:a16="http://schemas.microsoft.com/office/drawing/2014/main" id="{39D0F6DA-F76D-D61B-57D2-65C2491D6932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5708366" y="2818635"/>
            <a:ext cx="186770" cy="186770"/>
          </a:xfrm>
          <a:prstGeom prst="rect">
            <a:avLst/>
          </a:prstGeom>
        </p:spPr>
      </p:pic>
      <p:pic>
        <p:nvPicPr>
          <p:cNvPr id="34" name="Graphic 6">
            <a:extLst>
              <a:ext uri="{FF2B5EF4-FFF2-40B4-BE49-F238E27FC236}">
                <a16:creationId xmlns:a16="http://schemas.microsoft.com/office/drawing/2014/main" id="{1C015F84-2F0D-5242-4E20-4C2673385648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5707890" y="3005405"/>
            <a:ext cx="186770" cy="18677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4625712-DBB7-306A-059C-E8FB216A01F3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4886" y="2177125"/>
            <a:ext cx="604236" cy="604236"/>
          </a:xfrm>
          <a:prstGeom prst="rect">
            <a:avLst/>
          </a:prstGeom>
        </p:spPr>
      </p:pic>
      <p:pic>
        <p:nvPicPr>
          <p:cNvPr id="50" name="Graphic 6" descr="Badge Cross outline">
            <a:extLst>
              <a:ext uri="{FF2B5EF4-FFF2-40B4-BE49-F238E27FC236}">
                <a16:creationId xmlns:a16="http://schemas.microsoft.com/office/drawing/2014/main" id="{C05A7129-4D3D-7546-C82D-0E387C7A53B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912132" y="2403029"/>
            <a:ext cx="301603" cy="301603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27E4D61B-A2E2-F666-5837-65EC9870DA0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053013" y="1998129"/>
            <a:ext cx="1456757" cy="1264355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3006C3FB-6D21-7497-9C73-BB5ABBF3F751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166422" y="3619099"/>
            <a:ext cx="1561636" cy="2354135"/>
          </a:xfrm>
          <a:prstGeom prst="rect">
            <a:avLst/>
          </a:prstGeom>
        </p:spPr>
      </p:pic>
      <p:pic>
        <p:nvPicPr>
          <p:cNvPr id="20" name="Graphic 6" descr="Badge Cross outline">
            <a:extLst>
              <a:ext uri="{FF2B5EF4-FFF2-40B4-BE49-F238E27FC236}">
                <a16:creationId xmlns:a16="http://schemas.microsoft.com/office/drawing/2014/main" id="{5E4CF0BB-B755-6884-F4B2-91F36CA68EEF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154793" y="4462612"/>
            <a:ext cx="343294" cy="34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7073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8749B9-DEF1-11D3-A025-C376330FA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259" y="3093994"/>
            <a:ext cx="6790457" cy="670011"/>
          </a:xfrm>
        </p:spPr>
        <p:txBody>
          <a:bodyPr/>
          <a:lstStyle/>
          <a:p>
            <a:pPr algn="ctr"/>
            <a:r>
              <a:rPr lang="en-US">
                <a:solidFill>
                  <a:schemeClr val="tx2"/>
                </a:solidFill>
              </a:rPr>
              <a:t>SLSVIEW Architecture</a:t>
            </a:r>
          </a:p>
        </p:txBody>
      </p:sp>
      <p:sp>
        <p:nvSpPr>
          <p:cNvPr id="22" name="Subtitle 49">
            <a:extLst>
              <a:ext uri="{FF2B5EF4-FFF2-40B4-BE49-F238E27FC236}">
                <a16:creationId xmlns:a16="http://schemas.microsoft.com/office/drawing/2014/main" id="{E5262B32-EB53-BCE8-5241-97D8580BBCB8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4DA833-40EA-8B4E-1083-3BA1880276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08F3816B-420E-FA1F-B03B-3DDB4E9798CC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C2173F5-6432-465E-A768-2F9DE2D8ED5A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venir Next LT Pro" panose="020B0504020202020204" pitchFamily="34" charset="0"/>
              </a:rPr>
              <a:pPr algn="ctr">
                <a:defRPr/>
              </a:pPr>
              <a:t>18</a:t>
            </a:fld>
            <a:endParaRPr lang="en-US" sz="1200">
              <a:solidFill>
                <a:prstClr val="black">
                  <a:tint val="75000"/>
                </a:prstClr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0901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C8F324F-EAE2-F140-AC21-FFCEB11E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1450" y="1180097"/>
            <a:ext cx="5509100" cy="498598"/>
          </a:xfrm>
        </p:spPr>
        <p:txBody>
          <a:bodyPr vert="horz" anchor="t"/>
          <a:lstStyle/>
          <a:p>
            <a:pPr algn="ctr"/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SLSVIEW</a:t>
            </a: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Software Suit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0" name="Subtitle 49">
            <a:extLst>
              <a:ext uri="{FF2B5EF4-FFF2-40B4-BE49-F238E27FC236}">
                <a16:creationId xmlns:a16="http://schemas.microsoft.com/office/drawing/2014/main" id="{A582F18F-298D-31F2-B24D-0CCFC4DDCE71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7C8A1491-5B63-2AFC-487D-25CE08CBA0BD}"/>
              </a:ext>
            </a:extLst>
          </p:cNvPr>
          <p:cNvSpPr txBox="1">
            <a:spLocks/>
          </p:cNvSpPr>
          <p:nvPr/>
        </p:nvSpPr>
        <p:spPr>
          <a:xfrm>
            <a:off x="4287485" y="3634049"/>
            <a:ext cx="2258814" cy="1302241"/>
          </a:xfrm>
          <a:prstGeom prst="roundRect">
            <a:avLst>
              <a:gd name="adj" fmla="val 1361"/>
            </a:avLst>
          </a:prstGeom>
          <a:solidFill>
            <a:srgbClr val="FFCB00"/>
          </a:solidFill>
          <a:ln w="19050">
            <a:noFill/>
          </a:ln>
        </p:spPr>
        <p:txBody>
          <a:bodyPr vert="horz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 Demi"/>
              </a:rPr>
              <a:t>SLSVIEW Cloud</a:t>
            </a:r>
          </a:p>
          <a:p>
            <a:pPr>
              <a:spcBef>
                <a:spcPts val="0"/>
              </a:spcBef>
              <a:defRPr/>
            </a:pPr>
            <a:r>
              <a:rPr lang="en-US" sz="1050">
                <a:solidFill>
                  <a:schemeClr val="tx1"/>
                </a:solidFill>
                <a:latin typeface="Avenir Next LT Pro"/>
              </a:rPr>
              <a:t>Print with RFID</a:t>
            </a:r>
          </a:p>
          <a:p>
            <a:pPr>
              <a:spcBef>
                <a:spcPts val="0"/>
              </a:spcBef>
              <a:defRPr/>
            </a:pPr>
            <a:r>
              <a:rPr lang="en-US" sz="1050">
                <a:solidFill>
                  <a:schemeClr val="tx1"/>
                </a:solidFill>
                <a:latin typeface="Avenir Next LT Pro"/>
              </a:rPr>
              <a:t>Order Fulfillment Verification</a:t>
            </a:r>
          </a:p>
          <a:p>
            <a:pPr>
              <a:spcBef>
                <a:spcPts val="0"/>
              </a:spcBef>
              <a:defRPr/>
            </a:pPr>
            <a:r>
              <a:rPr lang="en-US" sz="1050">
                <a:solidFill>
                  <a:schemeClr val="tx1"/>
                </a:solidFill>
                <a:latin typeface="Avenir Next LT Pro"/>
              </a:rPr>
              <a:t>Inventory Management</a:t>
            </a:r>
            <a:endParaRPr lang="en-US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en-US" sz="1050">
                <a:solidFill>
                  <a:schemeClr val="tx1"/>
                </a:solidFill>
                <a:latin typeface="Avenir Next LT Pro"/>
              </a:rPr>
              <a:t>Returnable Container Tracking</a:t>
            </a:r>
            <a:endParaRPr lang="en-US" sz="1050">
              <a:solidFill>
                <a:schemeClr val="tx1"/>
              </a:solidFill>
              <a:latin typeface="Avenir Next LT Pro" panose="020B05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en-US" sz="1050">
                <a:solidFill>
                  <a:schemeClr val="tx1"/>
                </a:solidFill>
                <a:latin typeface="Avenir Next LT Pro"/>
              </a:rPr>
              <a:t>Shipment Verification</a:t>
            </a:r>
            <a:endParaRPr lang="en-US" sz="105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AE108E89-CAF4-5CB3-9860-978225F11A5C}"/>
              </a:ext>
            </a:extLst>
          </p:cNvPr>
          <p:cNvSpPr txBox="1">
            <a:spLocks/>
          </p:cNvSpPr>
          <p:nvPr/>
        </p:nvSpPr>
        <p:spPr>
          <a:xfrm>
            <a:off x="954660" y="3075597"/>
            <a:ext cx="2643619" cy="529673"/>
          </a:xfrm>
          <a:prstGeom prst="roundRect">
            <a:avLst>
              <a:gd name="adj" fmla="val 5520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vert="horz" wrap="square" lIns="540000" tIns="72000" rIns="108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sset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SLSVIEW Mobile</a:t>
            </a: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D5ED33B9-3832-9A6F-847E-DD968FDEB820}"/>
              </a:ext>
            </a:extLst>
          </p:cNvPr>
          <p:cNvSpPr txBox="1">
            <a:spLocks/>
          </p:cNvSpPr>
          <p:nvPr/>
        </p:nvSpPr>
        <p:spPr>
          <a:xfrm>
            <a:off x="954661" y="3703959"/>
            <a:ext cx="2643620" cy="529673"/>
          </a:xfrm>
          <a:prstGeom prst="roundRect">
            <a:avLst>
              <a:gd name="adj" fmla="val 5520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vert="horz" wrap="square" lIns="540000" tIns="72000" rIns="72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utomated Asset Colle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SLSVIEW Print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8DC33FBE-C9E2-A61B-D8AB-D36C89029290}"/>
              </a:ext>
            </a:extLst>
          </p:cNvPr>
          <p:cNvSpPr txBox="1">
            <a:spLocks/>
          </p:cNvSpPr>
          <p:nvPr/>
        </p:nvSpPr>
        <p:spPr>
          <a:xfrm>
            <a:off x="954661" y="4334707"/>
            <a:ext cx="2643618" cy="529673"/>
          </a:xfrm>
          <a:prstGeom prst="roundRect">
            <a:avLst>
              <a:gd name="adj" fmla="val 5520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vert="horz" wrap="square" lIns="540000" tIns="72000" rIns="72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hipment Ver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SLSVIEW Capture Windows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4F387CEC-03EC-379D-1687-83FAB5AFB124}"/>
              </a:ext>
            </a:extLst>
          </p:cNvPr>
          <p:cNvSpPr txBox="1">
            <a:spLocks/>
          </p:cNvSpPr>
          <p:nvPr/>
        </p:nvSpPr>
        <p:spPr>
          <a:xfrm>
            <a:off x="954661" y="2822378"/>
            <a:ext cx="2329584" cy="1661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err="1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</a:rPr>
              <a:t>Applications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ADF9BCA3-BEC9-A2F0-D7CC-B1DDB43B950D}"/>
              </a:ext>
            </a:extLst>
          </p:cNvPr>
          <p:cNvSpPr txBox="1">
            <a:spLocks/>
          </p:cNvSpPr>
          <p:nvPr/>
        </p:nvSpPr>
        <p:spPr>
          <a:xfrm>
            <a:off x="9218202" y="3447242"/>
            <a:ext cx="2003425" cy="339649"/>
          </a:xfrm>
          <a:prstGeom prst="roundRect">
            <a:avLst>
              <a:gd name="adj" fmla="val 5520"/>
            </a:avLst>
          </a:prstGeom>
          <a:solidFill>
            <a:schemeClr val="bg2">
              <a:lumMod val="50000"/>
              <a:alpha val="8000"/>
            </a:schemeClr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vert="horz" wrap="square" lIns="108000" tIns="72000" rIns="108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8F0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upply Chain Integrati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8F0">
                  <a:lumMod val="50000"/>
                </a:srgb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F3499B80-D21A-E751-24F0-A8A9D15C7907}"/>
              </a:ext>
            </a:extLst>
          </p:cNvPr>
          <p:cNvSpPr txBox="1">
            <a:spLocks/>
          </p:cNvSpPr>
          <p:nvPr/>
        </p:nvSpPr>
        <p:spPr>
          <a:xfrm>
            <a:off x="9218202" y="3191078"/>
            <a:ext cx="2329584" cy="1661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sz="1200">
                <a:solidFill>
                  <a:srgbClr val="2D2E34"/>
                </a:solidFill>
                <a:latin typeface="Avenir Next LT Pro Demi"/>
              </a:rPr>
              <a:t>Microsoft Service Bus</a:t>
            </a: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</p:txBody>
      </p:sp>
      <p:sp>
        <p:nvSpPr>
          <p:cNvPr id="40" name="Text Placeholder 22">
            <a:extLst>
              <a:ext uri="{FF2B5EF4-FFF2-40B4-BE49-F238E27FC236}">
                <a16:creationId xmlns:a16="http://schemas.microsoft.com/office/drawing/2014/main" id="{53FA8CEB-1EA1-3F45-20C4-9FEA5F2DF8F1}"/>
              </a:ext>
            </a:extLst>
          </p:cNvPr>
          <p:cNvSpPr txBox="1">
            <a:spLocks/>
          </p:cNvSpPr>
          <p:nvPr/>
        </p:nvSpPr>
        <p:spPr>
          <a:xfrm>
            <a:off x="9218202" y="3894292"/>
            <a:ext cx="2003425" cy="339649"/>
          </a:xfrm>
          <a:prstGeom prst="roundRect">
            <a:avLst>
              <a:gd name="adj" fmla="val 5520"/>
            </a:avLst>
          </a:prstGeom>
          <a:solidFill>
            <a:schemeClr val="bg2">
              <a:lumMod val="50000"/>
              <a:alpha val="8000"/>
            </a:schemeClr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vert="horz" wrap="square" lIns="108000" tIns="72000" rIns="108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8F0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Data Warehous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8F0">
                  <a:lumMod val="50000"/>
                </a:srgb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41" name="Text Placeholder 22">
            <a:extLst>
              <a:ext uri="{FF2B5EF4-FFF2-40B4-BE49-F238E27FC236}">
                <a16:creationId xmlns:a16="http://schemas.microsoft.com/office/drawing/2014/main" id="{9B4C28F7-AB5A-3E0C-4081-6C4FFD21EFC9}"/>
              </a:ext>
            </a:extLst>
          </p:cNvPr>
          <p:cNvSpPr txBox="1">
            <a:spLocks/>
          </p:cNvSpPr>
          <p:nvPr/>
        </p:nvSpPr>
        <p:spPr>
          <a:xfrm>
            <a:off x="9218202" y="4339904"/>
            <a:ext cx="2003425" cy="339649"/>
          </a:xfrm>
          <a:prstGeom prst="roundRect">
            <a:avLst>
              <a:gd name="adj" fmla="val 5520"/>
            </a:avLst>
          </a:prstGeom>
          <a:solidFill>
            <a:schemeClr val="bg2">
              <a:lumMod val="50000"/>
              <a:alpha val="8000"/>
            </a:schemeClr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vert="horz" wrap="square" lIns="108000" tIns="72000" rIns="108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8F0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RP Application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8F0">
                  <a:lumMod val="50000"/>
                </a:srgb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42" name="Text Placeholder 22">
            <a:extLst>
              <a:ext uri="{FF2B5EF4-FFF2-40B4-BE49-F238E27FC236}">
                <a16:creationId xmlns:a16="http://schemas.microsoft.com/office/drawing/2014/main" id="{C1DA1642-54BE-1728-7AA9-FF890E17948C}"/>
              </a:ext>
            </a:extLst>
          </p:cNvPr>
          <p:cNvSpPr txBox="1">
            <a:spLocks/>
          </p:cNvSpPr>
          <p:nvPr/>
        </p:nvSpPr>
        <p:spPr>
          <a:xfrm>
            <a:off x="9218202" y="4785516"/>
            <a:ext cx="2003425" cy="339649"/>
          </a:xfrm>
          <a:prstGeom prst="roundRect">
            <a:avLst>
              <a:gd name="adj" fmla="val 5520"/>
            </a:avLst>
          </a:prstGeom>
          <a:solidFill>
            <a:schemeClr val="bg2">
              <a:lumMod val="50000"/>
              <a:alpha val="8000"/>
            </a:schemeClr>
          </a:solidFill>
          <a:ln w="19050">
            <a:solidFill>
              <a:schemeClr val="bg2">
                <a:lumMod val="50000"/>
              </a:schemeClr>
            </a:solidFill>
          </a:ln>
        </p:spPr>
        <p:txBody>
          <a:bodyPr vert="horz" wrap="square" lIns="108000" tIns="72000" rIns="108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8F0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ES Application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8F0">
                  <a:lumMod val="50000"/>
                </a:srgb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E685E81F-11FF-2158-C784-9FB9E8768694}"/>
              </a:ext>
            </a:extLst>
          </p:cNvPr>
          <p:cNvCxnSpPr>
            <a:cxnSpLocks/>
            <a:stCxn id="37" idx="1"/>
            <a:endCxn id="24" idx="3"/>
          </p:cNvCxnSpPr>
          <p:nvPr/>
        </p:nvCxnSpPr>
        <p:spPr>
          <a:xfrm flipH="1">
            <a:off x="6546299" y="4281392"/>
            <a:ext cx="349875" cy="3778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3D03B9B7-9CCB-BE13-205D-B2E33D239D79}"/>
              </a:ext>
            </a:extLst>
          </p:cNvPr>
          <p:cNvCxnSpPr>
            <a:cxnSpLocks/>
            <a:stCxn id="37" idx="3"/>
            <a:endCxn id="38" idx="1"/>
          </p:cNvCxnSpPr>
          <p:nvPr/>
        </p:nvCxnSpPr>
        <p:spPr>
          <a:xfrm flipV="1">
            <a:off x="8219021" y="3617067"/>
            <a:ext cx="999181" cy="664325"/>
          </a:xfrm>
          <a:prstGeom prst="bentConnector3">
            <a:avLst>
              <a:gd name="adj1" fmla="val 50000"/>
            </a:avLst>
          </a:prstGeom>
          <a:ln cap="flat">
            <a:solidFill>
              <a:schemeClr val="bg2">
                <a:lumMod val="50000"/>
              </a:schemeClr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E071E5C6-6B08-C446-0553-D2CC341B69D6}"/>
              </a:ext>
            </a:extLst>
          </p:cNvPr>
          <p:cNvCxnSpPr>
            <a:cxnSpLocks/>
            <a:stCxn id="37" idx="3"/>
            <a:endCxn id="40" idx="1"/>
          </p:cNvCxnSpPr>
          <p:nvPr/>
        </p:nvCxnSpPr>
        <p:spPr>
          <a:xfrm flipV="1">
            <a:off x="8219021" y="4064117"/>
            <a:ext cx="999181" cy="217275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or: Elbow 98">
            <a:extLst>
              <a:ext uri="{FF2B5EF4-FFF2-40B4-BE49-F238E27FC236}">
                <a16:creationId xmlns:a16="http://schemas.microsoft.com/office/drawing/2014/main" id="{E05F81FE-A93D-EA68-2344-214DB904FD96}"/>
              </a:ext>
            </a:extLst>
          </p:cNvPr>
          <p:cNvCxnSpPr>
            <a:cxnSpLocks/>
            <a:stCxn id="37" idx="3"/>
            <a:endCxn id="41" idx="1"/>
          </p:cNvCxnSpPr>
          <p:nvPr/>
        </p:nvCxnSpPr>
        <p:spPr>
          <a:xfrm>
            <a:off x="8219021" y="4281392"/>
            <a:ext cx="999181" cy="228337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B6FE4864-421A-4FE0-8CDD-420E4720C6B9}"/>
              </a:ext>
            </a:extLst>
          </p:cNvPr>
          <p:cNvCxnSpPr>
            <a:cxnSpLocks/>
            <a:stCxn id="37" idx="3"/>
            <a:endCxn id="42" idx="1"/>
          </p:cNvCxnSpPr>
          <p:nvPr/>
        </p:nvCxnSpPr>
        <p:spPr>
          <a:xfrm>
            <a:off x="8219021" y="4281392"/>
            <a:ext cx="999181" cy="673949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58570858-E33D-AC62-C9F1-70457616C9CC}"/>
              </a:ext>
            </a:extLst>
          </p:cNvPr>
          <p:cNvSpPr txBox="1">
            <a:spLocks/>
          </p:cNvSpPr>
          <p:nvPr/>
        </p:nvSpPr>
        <p:spPr>
          <a:xfrm>
            <a:off x="6896174" y="3820668"/>
            <a:ext cx="1322847" cy="921448"/>
          </a:xfrm>
          <a:prstGeom prst="roundRect">
            <a:avLst>
              <a:gd name="adj" fmla="val 3430"/>
            </a:avLst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vert="horz" lIns="180000" tIns="180000" rIns="180000" bIns="180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SLSVIE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Hub</a:t>
            </a:r>
          </a:p>
        </p:txBody>
      </p:sp>
      <p:pic>
        <p:nvPicPr>
          <p:cNvPr id="143" name="Graphic 142">
            <a:extLst>
              <a:ext uri="{FF2B5EF4-FFF2-40B4-BE49-F238E27FC236}">
                <a16:creationId xmlns:a16="http://schemas.microsoft.com/office/drawing/2014/main" id="{673B44DD-2F9E-6FF6-60E9-A83431A2800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6997" y="3847958"/>
            <a:ext cx="288000" cy="241673"/>
          </a:xfrm>
          <a:prstGeom prst="rect">
            <a:avLst/>
          </a:prstGeom>
        </p:spPr>
      </p:pic>
      <p:pic>
        <p:nvPicPr>
          <p:cNvPr id="167" name="Graphic 166">
            <a:extLst>
              <a:ext uri="{FF2B5EF4-FFF2-40B4-BE49-F238E27FC236}">
                <a16:creationId xmlns:a16="http://schemas.microsoft.com/office/drawing/2014/main" id="{A046A2C6-6868-B108-01CD-6E39562CC18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88509" y="4343242"/>
            <a:ext cx="260299" cy="252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2933C0-0F4A-AA90-01E8-D1D816025AA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10E3EF17-9E75-2BA7-244C-8CD34776A578}"/>
              </a:ext>
            </a:extLst>
          </p:cNvPr>
          <p:cNvCxnSpPr>
            <a:cxnSpLocks/>
            <a:stCxn id="33" idx="3"/>
            <a:endCxn id="24" idx="1"/>
          </p:cNvCxnSpPr>
          <p:nvPr/>
        </p:nvCxnSpPr>
        <p:spPr>
          <a:xfrm>
            <a:off x="3598279" y="3340434"/>
            <a:ext cx="689206" cy="944736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A51FB7B3-3B43-3627-EECF-C257D75BC74B}"/>
              </a:ext>
            </a:extLst>
          </p:cNvPr>
          <p:cNvCxnSpPr>
            <a:cxnSpLocks/>
            <a:stCxn id="34" idx="3"/>
            <a:endCxn id="24" idx="1"/>
          </p:cNvCxnSpPr>
          <p:nvPr/>
        </p:nvCxnSpPr>
        <p:spPr>
          <a:xfrm>
            <a:off x="3598281" y="3968796"/>
            <a:ext cx="689204" cy="316374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>
            <a:extLst>
              <a:ext uri="{FF2B5EF4-FFF2-40B4-BE49-F238E27FC236}">
                <a16:creationId xmlns:a16="http://schemas.microsoft.com/office/drawing/2014/main" id="{429629BA-F260-FBAA-197B-CC2308215C6C}"/>
              </a:ext>
            </a:extLst>
          </p:cNvPr>
          <p:cNvCxnSpPr>
            <a:cxnSpLocks/>
            <a:stCxn id="35" idx="3"/>
            <a:endCxn id="24" idx="1"/>
          </p:cNvCxnSpPr>
          <p:nvPr/>
        </p:nvCxnSpPr>
        <p:spPr>
          <a:xfrm flipV="1">
            <a:off x="3598279" y="4285170"/>
            <a:ext cx="689206" cy="314374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B4429E5E-1355-0327-5E53-23E3B6E05F8F}"/>
              </a:ext>
            </a:extLst>
          </p:cNvPr>
          <p:cNvSpPr txBox="1">
            <a:spLocks/>
          </p:cNvSpPr>
          <p:nvPr/>
        </p:nvSpPr>
        <p:spPr>
          <a:xfrm>
            <a:off x="954660" y="4965455"/>
            <a:ext cx="2643618" cy="529673"/>
          </a:xfrm>
          <a:prstGeom prst="roundRect">
            <a:avLst>
              <a:gd name="adj" fmla="val 5520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vert="horz" wrap="square" lIns="540000" tIns="72000" rIns="72000" bIns="72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hipment Ver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SLSVIEW Capture Linux</a:t>
            </a:r>
          </a:p>
        </p:txBody>
      </p:sp>
      <p:pic>
        <p:nvPicPr>
          <p:cNvPr id="23" name="Graphic 22" descr="Tablet">
            <a:extLst>
              <a:ext uri="{FF2B5EF4-FFF2-40B4-BE49-F238E27FC236}">
                <a16:creationId xmlns:a16="http://schemas.microsoft.com/office/drawing/2014/main" id="{3B9AE1CA-55C5-A6F9-7694-69342485D1B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20238" y="4388960"/>
            <a:ext cx="427199" cy="427199"/>
          </a:xfrm>
          <a:prstGeom prst="rect">
            <a:avLst/>
          </a:prstGeom>
        </p:spPr>
      </p:pic>
      <p:pic>
        <p:nvPicPr>
          <p:cNvPr id="28" name="Graphic 27" descr="Smart Phone">
            <a:extLst>
              <a:ext uri="{FF2B5EF4-FFF2-40B4-BE49-F238E27FC236}">
                <a16:creationId xmlns:a16="http://schemas.microsoft.com/office/drawing/2014/main" id="{109F9FE7-BFFF-9BC4-E256-4133CF304D5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4978" y="3164197"/>
            <a:ext cx="347934" cy="347934"/>
          </a:xfrm>
          <a:prstGeom prst="rect">
            <a:avLst/>
          </a:prstGeom>
        </p:spPr>
      </p:pic>
      <p:pic>
        <p:nvPicPr>
          <p:cNvPr id="31" name="Graphic 30" descr="Wireless router">
            <a:extLst>
              <a:ext uri="{FF2B5EF4-FFF2-40B4-BE49-F238E27FC236}">
                <a16:creationId xmlns:a16="http://schemas.microsoft.com/office/drawing/2014/main" id="{F1568EE0-11ED-BC67-B8E5-63602E4383E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1804" y="5051098"/>
            <a:ext cx="358385" cy="358385"/>
          </a:xfrm>
          <a:prstGeom prst="rect">
            <a:avLst/>
          </a:prstGeom>
        </p:spPr>
      </p:pic>
      <p:cxnSp>
        <p:nvCxnSpPr>
          <p:cNvPr id="32" name="Elbow Connector 31">
            <a:extLst>
              <a:ext uri="{FF2B5EF4-FFF2-40B4-BE49-F238E27FC236}">
                <a16:creationId xmlns:a16="http://schemas.microsoft.com/office/drawing/2014/main" id="{DB6869ED-5807-85E9-A33C-DA0199F134E4}"/>
              </a:ext>
            </a:extLst>
          </p:cNvPr>
          <p:cNvCxnSpPr>
            <a:cxnSpLocks/>
            <a:stCxn id="21" idx="3"/>
            <a:endCxn id="24" idx="1"/>
          </p:cNvCxnSpPr>
          <p:nvPr/>
        </p:nvCxnSpPr>
        <p:spPr>
          <a:xfrm flipV="1">
            <a:off x="3598278" y="4285170"/>
            <a:ext cx="689207" cy="945122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2606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92645-39D4-1D95-7C9A-2766DFC09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754563"/>
            <a:ext cx="2725114" cy="355694"/>
          </a:xfrm>
        </p:spPr>
        <p:txBody>
          <a:bodyPr/>
          <a:lstStyle/>
          <a:p>
            <a:r>
              <a:rPr lang="en-US" sz="2400"/>
              <a:t>Levata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7DA5FACB-EE95-2856-DB95-AB86E350FE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5688" y="2984821"/>
            <a:ext cx="2912823" cy="1434919"/>
          </a:xfrm>
        </p:spPr>
        <p:txBody>
          <a:bodyPr/>
          <a:lstStyle/>
          <a:p>
            <a:r>
              <a:rPr lang="en-US"/>
              <a:t>Levata delivers the technology to enable mobility, automation, and visibility, the expertise to connect people, data, and assets, and the insights to shift from day-to-day management to driving what’s next.</a:t>
            </a: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25F19B-333A-F6AA-9275-D3A5F2DA2E0C}"/>
              </a:ext>
            </a:extLst>
          </p:cNvPr>
          <p:cNvSpPr txBox="1">
            <a:spLocks/>
          </p:cNvSpPr>
          <p:nvPr/>
        </p:nvSpPr>
        <p:spPr>
          <a:xfrm>
            <a:off x="1063254" y="4867330"/>
            <a:ext cx="2552700" cy="7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0"/>
                <a:solidFill>
                  <a:srgbClr val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venir Next LT Pro"/>
                <a:ea typeface="+mn-ea"/>
                <a:cs typeface="+mn-cs"/>
              </a:rPr>
              <a:t>Employees Globally</a:t>
            </a:r>
          </a:p>
        </p:txBody>
      </p:sp>
      <p:sp>
        <p:nvSpPr>
          <p:cNvPr id="5" name="Text Placeholder 21">
            <a:extLst>
              <a:ext uri="{FF2B5EF4-FFF2-40B4-BE49-F238E27FC236}">
                <a16:creationId xmlns:a16="http://schemas.microsoft.com/office/drawing/2014/main" id="{EE53D639-FFD2-575F-8B81-B2BB27A08498}"/>
              </a:ext>
            </a:extLst>
          </p:cNvPr>
          <p:cNvSpPr txBox="1">
            <a:spLocks/>
          </p:cNvSpPr>
          <p:nvPr/>
        </p:nvSpPr>
        <p:spPr>
          <a:xfrm>
            <a:off x="1055688" y="2426667"/>
            <a:ext cx="2912823" cy="35197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AD202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ven Transformation Partner</a:t>
            </a:r>
          </a:p>
        </p:txBody>
      </p:sp>
      <p:sp>
        <p:nvSpPr>
          <p:cNvPr id="6" name="Text Placeholder 36">
            <a:extLst>
              <a:ext uri="{FF2B5EF4-FFF2-40B4-BE49-F238E27FC236}">
                <a16:creationId xmlns:a16="http://schemas.microsoft.com/office/drawing/2014/main" id="{DE605DA6-EA10-9ECD-F9C3-C3AA966ECB40}"/>
              </a:ext>
            </a:extLst>
          </p:cNvPr>
          <p:cNvSpPr txBox="1">
            <a:spLocks/>
          </p:cNvSpPr>
          <p:nvPr/>
        </p:nvSpPr>
        <p:spPr>
          <a:xfrm>
            <a:off x="1055688" y="4389332"/>
            <a:ext cx="2640013" cy="7478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000" dirty="0">
                <a:solidFill>
                  <a:srgbClr val="FFC000"/>
                </a:solidFill>
                <a:latin typeface="Avenir Next LT Pro" panose="020B0504020202020204" pitchFamily="34" charset="77"/>
                <a:ea typeface="+mj-ea"/>
                <a:cs typeface="+mj-cs"/>
              </a:rPr>
              <a:t>800+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7070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6037F97-03D5-1AF7-A073-F42DD7282A07}"/>
              </a:ext>
            </a:extLst>
          </p:cNvPr>
          <p:cNvSpPr txBox="1">
            <a:spLocks/>
          </p:cNvSpPr>
          <p:nvPr/>
        </p:nvSpPr>
        <p:spPr>
          <a:xfrm>
            <a:off x="1055688" y="6150030"/>
            <a:ext cx="2527300" cy="77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 w="0"/>
                <a:solidFill>
                  <a:srgbClr val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venir Next LT Pro"/>
                <a:ea typeface="+mn-ea"/>
                <a:cs typeface="+mn-cs"/>
              </a:rPr>
              <a:t>Fortune 500 Served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19A87EB-8014-C28F-8441-BCA79402EEB6}"/>
              </a:ext>
            </a:extLst>
          </p:cNvPr>
          <p:cNvSpPr txBox="1">
            <a:spLocks/>
          </p:cNvSpPr>
          <p:nvPr/>
        </p:nvSpPr>
        <p:spPr>
          <a:xfrm>
            <a:off x="4655541" y="1754563"/>
            <a:ext cx="2579072" cy="3556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F6CC9C8E-6B5E-4D2B-D7D8-E58C8BF0AA56}"/>
              </a:ext>
            </a:extLst>
          </p:cNvPr>
          <p:cNvSpPr txBox="1">
            <a:spLocks/>
          </p:cNvSpPr>
          <p:nvPr/>
        </p:nvSpPr>
        <p:spPr>
          <a:xfrm>
            <a:off x="4655539" y="3013355"/>
            <a:ext cx="2912823" cy="14349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, a Levata-acquired solution, delivers AI-powered supply chain visibility automation using RFID for end-to-end visibility from manufacturing and warehouse distribution to retail environments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AFB5F108-4FB5-604E-BA4B-8B7A9AD678E8}"/>
              </a:ext>
            </a:extLst>
          </p:cNvPr>
          <p:cNvSpPr txBox="1">
            <a:spLocks/>
          </p:cNvSpPr>
          <p:nvPr/>
        </p:nvSpPr>
        <p:spPr>
          <a:xfrm>
            <a:off x="4655542" y="2426667"/>
            <a:ext cx="2766780" cy="35197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AD202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 Complete Supply Chain Visibility Solution</a:t>
            </a:r>
          </a:p>
        </p:txBody>
      </p:sp>
      <p:sp>
        <p:nvSpPr>
          <p:cNvPr id="21" name="Text Placeholder 36">
            <a:extLst>
              <a:ext uri="{FF2B5EF4-FFF2-40B4-BE49-F238E27FC236}">
                <a16:creationId xmlns:a16="http://schemas.microsoft.com/office/drawing/2014/main" id="{E0170462-0EF6-DFBA-BF8E-B1E0A766CED1}"/>
              </a:ext>
            </a:extLst>
          </p:cNvPr>
          <p:cNvSpPr txBox="1">
            <a:spLocks/>
          </p:cNvSpPr>
          <p:nvPr/>
        </p:nvSpPr>
        <p:spPr>
          <a:xfrm>
            <a:off x="4641984" y="4455930"/>
            <a:ext cx="2780338" cy="23295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hipment Verification Autom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No-Touch Receiving Verif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ycle Count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allet Verif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se Content Verif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lt"/>
                <a:cs typeface="+mn-lt"/>
              </a:rPr>
              <a:t>Point of Sale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ACB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ACB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ACB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ACB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4" name="Rectangle: Rounded Corners 8">
            <a:extLst>
              <a:ext uri="{FF2B5EF4-FFF2-40B4-BE49-F238E27FC236}">
                <a16:creationId xmlns:a16="http://schemas.microsoft.com/office/drawing/2014/main" id="{DE7B78A6-D451-64CE-68CF-D95550236185}"/>
              </a:ext>
            </a:extLst>
          </p:cNvPr>
          <p:cNvSpPr/>
          <p:nvPr/>
        </p:nvSpPr>
        <p:spPr>
          <a:xfrm>
            <a:off x="8407328" y="2679468"/>
            <a:ext cx="2721418" cy="3992568"/>
          </a:xfrm>
          <a:prstGeom prst="roundRect">
            <a:avLst>
              <a:gd name="adj" fmla="val 6276"/>
            </a:avLst>
          </a:prstGeom>
          <a:solidFill>
            <a:srgbClr val="FFCB00"/>
          </a:solidFill>
          <a:ln>
            <a:noFill/>
          </a:ln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45720" rIns="91440" bIns="45720" rtlCol="0" anchor="ctr"/>
          <a:lstStyle/>
          <a:p>
            <a:endParaRPr lang="en-GB" sz="1400">
              <a:solidFill>
                <a:schemeClr val="tx2"/>
              </a:solidFill>
              <a:latin typeface="Avenir Next LT Pro Demi" panose="020B070402020202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E816E399-ABD7-0C1E-BE90-6EE7E836F661}"/>
              </a:ext>
            </a:extLst>
          </p:cNvPr>
          <p:cNvSpPr txBox="1">
            <a:spLocks/>
          </p:cNvSpPr>
          <p:nvPr/>
        </p:nvSpPr>
        <p:spPr>
          <a:xfrm>
            <a:off x="8707124" y="3032299"/>
            <a:ext cx="2074376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abor productivity improvement</a:t>
            </a:r>
            <a:endParaRPr kumimoji="0" lang="en-US" sz="6600" b="0" i="0" u="none" strike="noStrike" kern="1200" cap="none" spc="147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1628B82-7305-38FE-83EB-A672E50F2A09}"/>
              </a:ext>
            </a:extLst>
          </p:cNvPr>
          <p:cNvSpPr txBox="1">
            <a:spLocks/>
          </p:cNvSpPr>
          <p:nvPr/>
        </p:nvSpPr>
        <p:spPr>
          <a:xfrm>
            <a:off x="8689806" y="5023495"/>
            <a:ext cx="2074376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$35M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BF6A8E-957D-906C-745A-907E724928F6}"/>
              </a:ext>
            </a:extLst>
          </p:cNvPr>
          <p:cNvCxnSpPr>
            <a:cxnSpLocks/>
          </p:cNvCxnSpPr>
          <p:nvPr/>
        </p:nvCxnSpPr>
        <p:spPr>
          <a:xfrm>
            <a:off x="8709183" y="5608950"/>
            <a:ext cx="20743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>
            <a:extLst>
              <a:ext uri="{FF2B5EF4-FFF2-40B4-BE49-F238E27FC236}">
                <a16:creationId xmlns:a16="http://schemas.microsoft.com/office/drawing/2014/main" id="{9CDAC045-805E-66BA-0ACA-AA4BAD14480C}"/>
              </a:ext>
            </a:extLst>
          </p:cNvPr>
          <p:cNvSpPr txBox="1">
            <a:spLocks/>
          </p:cNvSpPr>
          <p:nvPr/>
        </p:nvSpPr>
        <p:spPr>
          <a:xfrm>
            <a:off x="8709184" y="3929967"/>
            <a:ext cx="2074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Number of sites deployed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7B50FC4-2B8C-264B-2883-6D20920AEBFB}"/>
              </a:ext>
            </a:extLst>
          </p:cNvPr>
          <p:cNvSpPr txBox="1">
            <a:spLocks/>
          </p:cNvSpPr>
          <p:nvPr/>
        </p:nvSpPr>
        <p:spPr>
          <a:xfrm>
            <a:off x="8709184" y="4837467"/>
            <a:ext cx="2074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nnual Savings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695B8FED-6CC6-9BFA-2DAB-0C1A492D04DB}"/>
              </a:ext>
            </a:extLst>
          </p:cNvPr>
          <p:cNvSpPr txBox="1">
            <a:spLocks/>
          </p:cNvSpPr>
          <p:nvPr/>
        </p:nvSpPr>
        <p:spPr>
          <a:xfrm>
            <a:off x="8709306" y="5735135"/>
            <a:ext cx="2074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OI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6AFAEFF-88DD-9294-0D25-48650E4473B5}"/>
              </a:ext>
            </a:extLst>
          </p:cNvPr>
          <p:cNvSpPr txBox="1">
            <a:spLocks/>
          </p:cNvSpPr>
          <p:nvPr/>
        </p:nvSpPr>
        <p:spPr>
          <a:xfrm>
            <a:off x="8695916" y="4125827"/>
            <a:ext cx="2074376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0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08E8D90-ED56-40EE-C90A-CE83673F63F1}"/>
              </a:ext>
            </a:extLst>
          </p:cNvPr>
          <p:cNvSpPr txBox="1">
            <a:spLocks/>
          </p:cNvSpPr>
          <p:nvPr/>
        </p:nvSpPr>
        <p:spPr>
          <a:xfrm>
            <a:off x="8689806" y="3228159"/>
            <a:ext cx="2074376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5%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9CF44D71-D31F-D187-9172-2FB343B5FA73}"/>
              </a:ext>
            </a:extLst>
          </p:cNvPr>
          <p:cNvSpPr txBox="1">
            <a:spLocks/>
          </p:cNvSpPr>
          <p:nvPr/>
        </p:nvSpPr>
        <p:spPr>
          <a:xfrm>
            <a:off x="8709183" y="5921165"/>
            <a:ext cx="2365839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7 Month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D4C6611-9AAC-2D3E-2696-17CEC8AB8073}"/>
              </a:ext>
            </a:extLst>
          </p:cNvPr>
          <p:cNvCxnSpPr>
            <a:cxnSpLocks/>
          </p:cNvCxnSpPr>
          <p:nvPr/>
        </p:nvCxnSpPr>
        <p:spPr>
          <a:xfrm>
            <a:off x="8709183" y="4711282"/>
            <a:ext cx="20743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D3CD085-63C7-4A3F-7E32-FB5E701F73E4}"/>
              </a:ext>
            </a:extLst>
          </p:cNvPr>
          <p:cNvCxnSpPr>
            <a:cxnSpLocks/>
          </p:cNvCxnSpPr>
          <p:nvPr/>
        </p:nvCxnSpPr>
        <p:spPr>
          <a:xfrm>
            <a:off x="8738096" y="3813614"/>
            <a:ext cx="207437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51580CDF-E63A-545D-4065-735CE2F96933}"/>
              </a:ext>
            </a:extLst>
          </p:cNvPr>
          <p:cNvSpPr txBox="1">
            <a:spLocks/>
          </p:cNvSpPr>
          <p:nvPr/>
        </p:nvSpPr>
        <p:spPr>
          <a:xfrm>
            <a:off x="8388357" y="1700469"/>
            <a:ext cx="2640013" cy="7478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AD202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Global Food &amp; Goods Retailer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B1656F7-78C0-CD86-3A42-4F649769D922}"/>
              </a:ext>
            </a:extLst>
          </p:cNvPr>
          <p:cNvCxnSpPr/>
          <p:nvPr/>
        </p:nvCxnSpPr>
        <p:spPr>
          <a:xfrm>
            <a:off x="4655539" y="2193684"/>
            <a:ext cx="2801937" cy="0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DAC04D4-7C83-7B97-A40F-6FADCDD4D5A0}"/>
              </a:ext>
            </a:extLst>
          </p:cNvPr>
          <p:cNvCxnSpPr/>
          <p:nvPr/>
        </p:nvCxnSpPr>
        <p:spPr>
          <a:xfrm>
            <a:off x="1063254" y="2193684"/>
            <a:ext cx="2801937" cy="0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1">
            <a:extLst>
              <a:ext uri="{FF2B5EF4-FFF2-40B4-BE49-F238E27FC236}">
                <a16:creationId xmlns:a16="http://schemas.microsoft.com/office/drawing/2014/main" id="{F5DF4AF3-C419-96B4-A8C1-50A4602C121E}"/>
              </a:ext>
            </a:extLst>
          </p:cNvPr>
          <p:cNvSpPr txBox="1">
            <a:spLocks/>
          </p:cNvSpPr>
          <p:nvPr/>
        </p:nvSpPr>
        <p:spPr>
          <a:xfrm>
            <a:off x="1055688" y="884089"/>
            <a:ext cx="7353300" cy="49941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 LT Pro"/>
                <a:ea typeface="+mn-ea"/>
                <a:cs typeface="+mn-cs"/>
              </a:rPr>
              <a:t>Supply Chain Visibility </a:t>
            </a:r>
            <a:r>
              <a:rPr kumimoji="0" lang="pt-BR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lution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1ADE335-E010-331D-E85C-406E4F839C42}"/>
              </a:ext>
            </a:extLst>
          </p:cNvPr>
          <p:cNvCxnSpPr>
            <a:cxnSpLocks/>
          </p:cNvCxnSpPr>
          <p:nvPr/>
        </p:nvCxnSpPr>
        <p:spPr>
          <a:xfrm>
            <a:off x="1055688" y="1405618"/>
            <a:ext cx="10080625" cy="0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ubtitle 2">
            <a:extLst>
              <a:ext uri="{FF2B5EF4-FFF2-40B4-BE49-F238E27FC236}">
                <a16:creationId xmlns:a16="http://schemas.microsoft.com/office/drawing/2014/main" id="{29609B70-313E-54E1-F4D1-B84FAD1542A5}"/>
              </a:ext>
            </a:extLst>
          </p:cNvPr>
          <p:cNvSpPr txBox="1">
            <a:spLocks/>
          </p:cNvSpPr>
          <p:nvPr/>
        </p:nvSpPr>
        <p:spPr>
          <a:xfrm>
            <a:off x="9365225" y="265011"/>
            <a:ext cx="2495781" cy="30648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  <a:endParaRPr kumimoji="0" lang="en-PH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12" name="Text Placeholder 36">
            <a:extLst>
              <a:ext uri="{FF2B5EF4-FFF2-40B4-BE49-F238E27FC236}">
                <a16:creationId xmlns:a16="http://schemas.microsoft.com/office/drawing/2014/main" id="{C48ED96C-4674-74BA-17ED-3217068D5559}"/>
              </a:ext>
            </a:extLst>
          </p:cNvPr>
          <p:cNvSpPr txBox="1">
            <a:spLocks/>
          </p:cNvSpPr>
          <p:nvPr/>
        </p:nvSpPr>
        <p:spPr>
          <a:xfrm>
            <a:off x="1055687" y="5710971"/>
            <a:ext cx="2640013" cy="7478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6000" dirty="0">
                <a:solidFill>
                  <a:srgbClr val="FFC000"/>
                </a:solidFill>
                <a:latin typeface="Avenir Next LT Pro" panose="020B0504020202020204" pitchFamily="34" charset="77"/>
                <a:ea typeface="+mj-ea"/>
                <a:cs typeface="+mj-cs"/>
              </a:rPr>
              <a:t>84%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rgbClr val="7070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D730AA6-0659-12B0-3420-21C2A985D71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148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78D75C-2D81-FFB7-F3A4-7B0155380FB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361861F9-3CE4-4EC1-18A6-BB8830FD1BBB}"/>
              </a:ext>
            </a:extLst>
          </p:cNvPr>
          <p:cNvSpPr txBox="1">
            <a:spLocks/>
          </p:cNvSpPr>
          <p:nvPr/>
        </p:nvSpPr>
        <p:spPr>
          <a:xfrm>
            <a:off x="3341450" y="1180097"/>
            <a:ext cx="550910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SLSVIEW</a:t>
            </a:r>
            <a:r>
              <a:rPr lang="pt-BR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 Deployment</a:t>
            </a:r>
            <a:endParaRPr lang="pt-BR">
              <a:solidFill>
                <a:schemeClr val="tx1"/>
              </a:solidFill>
            </a:endParaRPr>
          </a:p>
        </p:txBody>
      </p:sp>
      <p:cxnSp>
        <p:nvCxnSpPr>
          <p:cNvPr id="2" name="Google Shape;275;p38">
            <a:extLst>
              <a:ext uri="{FF2B5EF4-FFF2-40B4-BE49-F238E27FC236}">
                <a16:creationId xmlns:a16="http://schemas.microsoft.com/office/drawing/2014/main" id="{0479313E-7B8B-FF4B-96E6-E284653EC6F7}"/>
              </a:ext>
            </a:extLst>
          </p:cNvPr>
          <p:cNvCxnSpPr>
            <a:cxnSpLocks/>
          </p:cNvCxnSpPr>
          <p:nvPr/>
        </p:nvCxnSpPr>
        <p:spPr>
          <a:xfrm rot="10800000">
            <a:off x="1771546" y="3595577"/>
            <a:ext cx="0" cy="4296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dot"/>
            <a:round/>
            <a:headEnd type="none" w="med" len="med"/>
            <a:tailEnd type="oval" w="med" len="med"/>
          </a:ln>
        </p:spPr>
      </p:cxnSp>
      <p:sp>
        <p:nvSpPr>
          <p:cNvPr id="3" name="Google Shape;281;p38">
            <a:extLst>
              <a:ext uri="{FF2B5EF4-FFF2-40B4-BE49-F238E27FC236}">
                <a16:creationId xmlns:a16="http://schemas.microsoft.com/office/drawing/2014/main" id="{51AA9C23-B096-72D1-93DB-9EABC7DD5CCD}"/>
              </a:ext>
            </a:extLst>
          </p:cNvPr>
          <p:cNvSpPr txBox="1"/>
          <p:nvPr/>
        </p:nvSpPr>
        <p:spPr>
          <a:xfrm>
            <a:off x="4086453" y="4362129"/>
            <a:ext cx="1011509" cy="2831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-US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Week 1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7" name="Google Shape;282;p38">
            <a:extLst>
              <a:ext uri="{FF2B5EF4-FFF2-40B4-BE49-F238E27FC236}">
                <a16:creationId xmlns:a16="http://schemas.microsoft.com/office/drawing/2014/main" id="{F70BA702-D73F-D233-505D-7EADAD922105}"/>
              </a:ext>
            </a:extLst>
          </p:cNvPr>
          <p:cNvSpPr txBox="1"/>
          <p:nvPr/>
        </p:nvSpPr>
        <p:spPr>
          <a:xfrm>
            <a:off x="2909309" y="4359423"/>
            <a:ext cx="902175" cy="292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Purchase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8" name="Google Shape;283;p38">
            <a:extLst>
              <a:ext uri="{FF2B5EF4-FFF2-40B4-BE49-F238E27FC236}">
                <a16:creationId xmlns:a16="http://schemas.microsoft.com/office/drawing/2014/main" id="{D6D3D7FC-79E2-0CA4-EBB5-7FE19CA73D59}"/>
              </a:ext>
            </a:extLst>
          </p:cNvPr>
          <p:cNvSpPr txBox="1"/>
          <p:nvPr/>
        </p:nvSpPr>
        <p:spPr>
          <a:xfrm>
            <a:off x="6787734" y="4384971"/>
            <a:ext cx="937200" cy="2831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Week 8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9" name="Google Shape;284;p38">
            <a:extLst>
              <a:ext uri="{FF2B5EF4-FFF2-40B4-BE49-F238E27FC236}">
                <a16:creationId xmlns:a16="http://schemas.microsoft.com/office/drawing/2014/main" id="{AC6D3F49-8A3C-C80F-44D6-FE924D93AF5A}"/>
              </a:ext>
            </a:extLst>
          </p:cNvPr>
          <p:cNvSpPr txBox="1"/>
          <p:nvPr/>
        </p:nvSpPr>
        <p:spPr>
          <a:xfrm>
            <a:off x="5338160" y="4362129"/>
            <a:ext cx="937200" cy="2831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-US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Week 4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19" name="Google Shape;285;p38">
            <a:extLst>
              <a:ext uri="{FF2B5EF4-FFF2-40B4-BE49-F238E27FC236}">
                <a16:creationId xmlns:a16="http://schemas.microsoft.com/office/drawing/2014/main" id="{6E149F72-C87D-3333-D252-6F751482BC6C}"/>
              </a:ext>
            </a:extLst>
          </p:cNvPr>
          <p:cNvSpPr txBox="1"/>
          <p:nvPr/>
        </p:nvSpPr>
        <p:spPr>
          <a:xfrm>
            <a:off x="1523706" y="4362130"/>
            <a:ext cx="835500" cy="2831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Start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21" name="Google Shape;286;p38">
            <a:extLst>
              <a:ext uri="{FF2B5EF4-FFF2-40B4-BE49-F238E27FC236}">
                <a16:creationId xmlns:a16="http://schemas.microsoft.com/office/drawing/2014/main" id="{B37704CA-FD6B-424B-6823-54FE0A18876E}"/>
              </a:ext>
            </a:extLst>
          </p:cNvPr>
          <p:cNvSpPr txBox="1"/>
          <p:nvPr/>
        </p:nvSpPr>
        <p:spPr>
          <a:xfrm>
            <a:off x="8246469" y="4362131"/>
            <a:ext cx="983400" cy="2831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Week 12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cxnSp>
        <p:nvCxnSpPr>
          <p:cNvPr id="22" name="Google Shape;288;p38">
            <a:extLst>
              <a:ext uri="{FF2B5EF4-FFF2-40B4-BE49-F238E27FC236}">
                <a16:creationId xmlns:a16="http://schemas.microsoft.com/office/drawing/2014/main" id="{4073E45F-657B-8FBC-3DBC-2E5729622A6C}"/>
              </a:ext>
            </a:extLst>
          </p:cNvPr>
          <p:cNvCxnSpPr>
            <a:cxnSpLocks/>
          </p:cNvCxnSpPr>
          <p:nvPr/>
        </p:nvCxnSpPr>
        <p:spPr>
          <a:xfrm rot="10800000">
            <a:off x="3291211" y="3617553"/>
            <a:ext cx="0" cy="4296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dot"/>
            <a:round/>
            <a:headEnd type="none" w="med" len="med"/>
            <a:tailEnd type="oval" w="med" len="med"/>
          </a:ln>
        </p:spPr>
      </p:cxnSp>
      <p:cxnSp>
        <p:nvCxnSpPr>
          <p:cNvPr id="23" name="Google Shape;289;p38">
            <a:extLst>
              <a:ext uri="{FF2B5EF4-FFF2-40B4-BE49-F238E27FC236}">
                <a16:creationId xmlns:a16="http://schemas.microsoft.com/office/drawing/2014/main" id="{6CA31942-0243-F2D6-F2C4-E23A72C2ACC7}"/>
              </a:ext>
            </a:extLst>
          </p:cNvPr>
          <p:cNvCxnSpPr>
            <a:cxnSpLocks/>
          </p:cNvCxnSpPr>
          <p:nvPr/>
        </p:nvCxnSpPr>
        <p:spPr>
          <a:xfrm rot="10800000">
            <a:off x="4447351" y="3628491"/>
            <a:ext cx="0" cy="4296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dot"/>
            <a:round/>
            <a:headEnd type="none" w="med" len="med"/>
            <a:tailEnd type="oval" w="med" len="med"/>
          </a:ln>
        </p:spPr>
      </p:cxnSp>
      <p:cxnSp>
        <p:nvCxnSpPr>
          <p:cNvPr id="24" name="Google Shape;290;p38">
            <a:extLst>
              <a:ext uri="{FF2B5EF4-FFF2-40B4-BE49-F238E27FC236}">
                <a16:creationId xmlns:a16="http://schemas.microsoft.com/office/drawing/2014/main" id="{B4906223-5751-B24D-9E11-8B0C03DD486E}"/>
              </a:ext>
            </a:extLst>
          </p:cNvPr>
          <p:cNvCxnSpPr>
            <a:cxnSpLocks/>
          </p:cNvCxnSpPr>
          <p:nvPr/>
        </p:nvCxnSpPr>
        <p:spPr>
          <a:xfrm rot="10800000">
            <a:off x="5784211" y="3628491"/>
            <a:ext cx="0" cy="4296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dot"/>
            <a:round/>
            <a:headEnd type="none" w="med" len="med"/>
            <a:tailEnd type="oval" w="med" len="med"/>
          </a:ln>
        </p:spPr>
      </p:cxnSp>
      <p:cxnSp>
        <p:nvCxnSpPr>
          <p:cNvPr id="33" name="Google Shape;291;p38">
            <a:extLst>
              <a:ext uri="{FF2B5EF4-FFF2-40B4-BE49-F238E27FC236}">
                <a16:creationId xmlns:a16="http://schemas.microsoft.com/office/drawing/2014/main" id="{E43736D2-3991-0B97-6E19-94F907AFCE69}"/>
              </a:ext>
            </a:extLst>
          </p:cNvPr>
          <p:cNvCxnSpPr>
            <a:cxnSpLocks/>
          </p:cNvCxnSpPr>
          <p:nvPr/>
        </p:nvCxnSpPr>
        <p:spPr>
          <a:xfrm rot="10800000">
            <a:off x="7233785" y="3628491"/>
            <a:ext cx="0" cy="4296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dot"/>
            <a:round/>
            <a:headEnd type="none" w="med" len="med"/>
            <a:tailEnd type="oval" w="med" len="med"/>
          </a:ln>
        </p:spPr>
      </p:cxnSp>
      <p:cxnSp>
        <p:nvCxnSpPr>
          <p:cNvPr id="34" name="Google Shape;292;p38">
            <a:extLst>
              <a:ext uri="{FF2B5EF4-FFF2-40B4-BE49-F238E27FC236}">
                <a16:creationId xmlns:a16="http://schemas.microsoft.com/office/drawing/2014/main" id="{3630B61A-7449-BA4C-EAC1-F21C826CBD81}"/>
              </a:ext>
            </a:extLst>
          </p:cNvPr>
          <p:cNvCxnSpPr>
            <a:cxnSpLocks/>
          </p:cNvCxnSpPr>
          <p:nvPr/>
        </p:nvCxnSpPr>
        <p:spPr>
          <a:xfrm rot="10800000">
            <a:off x="8654665" y="3645688"/>
            <a:ext cx="0" cy="4296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dot"/>
            <a:round/>
            <a:headEnd type="none" w="med" len="med"/>
            <a:tailEnd type="oval" w="med" len="med"/>
          </a:ln>
        </p:spPr>
      </p:cxnSp>
      <p:cxnSp>
        <p:nvCxnSpPr>
          <p:cNvPr id="35" name="Google Shape;293;p38">
            <a:extLst>
              <a:ext uri="{FF2B5EF4-FFF2-40B4-BE49-F238E27FC236}">
                <a16:creationId xmlns:a16="http://schemas.microsoft.com/office/drawing/2014/main" id="{8B1862C0-0282-800F-EED9-3375C8534C07}"/>
              </a:ext>
            </a:extLst>
          </p:cNvPr>
          <p:cNvCxnSpPr>
            <a:cxnSpLocks/>
          </p:cNvCxnSpPr>
          <p:nvPr/>
        </p:nvCxnSpPr>
        <p:spPr>
          <a:xfrm rot="10800000">
            <a:off x="10106331" y="3628491"/>
            <a:ext cx="0" cy="429600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dot"/>
            <a:round/>
            <a:headEnd type="none" w="med" len="med"/>
            <a:tailEnd type="oval" w="med" len="med"/>
          </a:ln>
        </p:spPr>
      </p:cxnSp>
      <p:sp>
        <p:nvSpPr>
          <p:cNvPr id="36" name="Google Shape;311;p38">
            <a:extLst>
              <a:ext uri="{FF2B5EF4-FFF2-40B4-BE49-F238E27FC236}">
                <a16:creationId xmlns:a16="http://schemas.microsoft.com/office/drawing/2014/main" id="{C91BCD10-B90D-3EC5-C00D-196A25B66F5E}"/>
              </a:ext>
            </a:extLst>
          </p:cNvPr>
          <p:cNvSpPr/>
          <p:nvPr/>
        </p:nvSpPr>
        <p:spPr>
          <a:xfrm rot="16200000">
            <a:off x="3255359" y="4136172"/>
            <a:ext cx="71700" cy="717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457200"/>
            <a:endParaRPr sz="1600">
              <a:latin typeface="Franklin Gothic Medium" panose="020B0603020102020204" pitchFamily="34" charset="0"/>
            </a:endParaRPr>
          </a:p>
        </p:txBody>
      </p:sp>
      <p:sp>
        <p:nvSpPr>
          <p:cNvPr id="37" name="Google Shape;313;p38">
            <a:extLst>
              <a:ext uri="{FF2B5EF4-FFF2-40B4-BE49-F238E27FC236}">
                <a16:creationId xmlns:a16="http://schemas.microsoft.com/office/drawing/2014/main" id="{542DDAA7-C5E9-3259-9936-59AA1516378F}"/>
              </a:ext>
            </a:extLst>
          </p:cNvPr>
          <p:cNvSpPr/>
          <p:nvPr/>
        </p:nvSpPr>
        <p:spPr>
          <a:xfrm rot="16200000">
            <a:off x="4407182" y="4129353"/>
            <a:ext cx="71700" cy="717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457200"/>
            <a:endParaRPr sz="1600">
              <a:latin typeface="Franklin Gothic Medium" panose="020B0603020102020204" pitchFamily="34" charset="0"/>
            </a:endParaRPr>
          </a:p>
        </p:txBody>
      </p:sp>
      <p:sp>
        <p:nvSpPr>
          <p:cNvPr id="38" name="Google Shape;315;p38">
            <a:extLst>
              <a:ext uri="{FF2B5EF4-FFF2-40B4-BE49-F238E27FC236}">
                <a16:creationId xmlns:a16="http://schemas.microsoft.com/office/drawing/2014/main" id="{17A871A5-EB5D-6451-D7E2-3DDC229DF7F9}"/>
              </a:ext>
            </a:extLst>
          </p:cNvPr>
          <p:cNvSpPr/>
          <p:nvPr/>
        </p:nvSpPr>
        <p:spPr>
          <a:xfrm rot="16200000">
            <a:off x="5748361" y="4143945"/>
            <a:ext cx="71700" cy="717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457200"/>
            <a:endParaRPr sz="1600">
              <a:latin typeface="Franklin Gothic Medium" panose="020B0603020102020204" pitchFamily="34" charset="0"/>
            </a:endParaRPr>
          </a:p>
        </p:txBody>
      </p:sp>
      <p:cxnSp>
        <p:nvCxnSpPr>
          <p:cNvPr id="39" name="Google Shape;316;p38">
            <a:extLst>
              <a:ext uri="{FF2B5EF4-FFF2-40B4-BE49-F238E27FC236}">
                <a16:creationId xmlns:a16="http://schemas.microsoft.com/office/drawing/2014/main" id="{677675D7-05E6-317B-F9B3-34936A9FDC00}"/>
              </a:ext>
            </a:extLst>
          </p:cNvPr>
          <p:cNvCxnSpPr>
            <a:cxnSpLocks/>
            <a:endCxn id="38" idx="0"/>
          </p:cNvCxnSpPr>
          <p:nvPr/>
        </p:nvCxnSpPr>
        <p:spPr>
          <a:xfrm>
            <a:off x="4469785" y="4172023"/>
            <a:ext cx="1278577" cy="7773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0" name="Google Shape;317;p38">
            <a:extLst>
              <a:ext uri="{FF2B5EF4-FFF2-40B4-BE49-F238E27FC236}">
                <a16:creationId xmlns:a16="http://schemas.microsoft.com/office/drawing/2014/main" id="{44DC6E81-EB5E-8191-61C9-CECEBDD32A9C}"/>
              </a:ext>
            </a:extLst>
          </p:cNvPr>
          <p:cNvSpPr/>
          <p:nvPr/>
        </p:nvSpPr>
        <p:spPr>
          <a:xfrm rot="16200000">
            <a:off x="7197935" y="4143886"/>
            <a:ext cx="71700" cy="717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457200"/>
            <a:endParaRPr sz="1600">
              <a:latin typeface="Franklin Gothic Medium" panose="020B0603020102020204" pitchFamily="34" charset="0"/>
            </a:endParaRPr>
          </a:p>
        </p:txBody>
      </p:sp>
      <p:sp>
        <p:nvSpPr>
          <p:cNvPr id="41" name="Google Shape;319;p38">
            <a:extLst>
              <a:ext uri="{FF2B5EF4-FFF2-40B4-BE49-F238E27FC236}">
                <a16:creationId xmlns:a16="http://schemas.microsoft.com/office/drawing/2014/main" id="{87830C12-828C-417C-6074-CD4345165137}"/>
              </a:ext>
            </a:extLst>
          </p:cNvPr>
          <p:cNvSpPr/>
          <p:nvPr/>
        </p:nvSpPr>
        <p:spPr>
          <a:xfrm rot="16200000">
            <a:off x="8634208" y="4144684"/>
            <a:ext cx="71700" cy="717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457200"/>
            <a:endParaRPr sz="1600">
              <a:latin typeface="Franklin Gothic Medium" panose="020B0603020102020204" pitchFamily="34" charset="0"/>
            </a:endParaRPr>
          </a:p>
        </p:txBody>
      </p:sp>
      <p:sp>
        <p:nvSpPr>
          <p:cNvPr id="42" name="Google Shape;321;p38">
            <a:extLst>
              <a:ext uri="{FF2B5EF4-FFF2-40B4-BE49-F238E27FC236}">
                <a16:creationId xmlns:a16="http://schemas.microsoft.com/office/drawing/2014/main" id="{4A40EE18-9D2E-7522-6E25-E9CFD30D9C93}"/>
              </a:ext>
            </a:extLst>
          </p:cNvPr>
          <p:cNvSpPr/>
          <p:nvPr/>
        </p:nvSpPr>
        <p:spPr>
          <a:xfrm rot="16200000">
            <a:off x="10061178" y="4143886"/>
            <a:ext cx="71700" cy="717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457200"/>
            <a:endParaRPr sz="1600">
              <a:latin typeface="Franklin Gothic Medium" panose="020B0603020102020204" pitchFamily="34" charset="0"/>
            </a:endParaRPr>
          </a:p>
        </p:txBody>
      </p:sp>
      <p:sp>
        <p:nvSpPr>
          <p:cNvPr id="43" name="Google Shape;276;p38">
            <a:extLst>
              <a:ext uri="{FF2B5EF4-FFF2-40B4-BE49-F238E27FC236}">
                <a16:creationId xmlns:a16="http://schemas.microsoft.com/office/drawing/2014/main" id="{5F0A9F31-64E7-E23B-39B9-A594935E4DD0}"/>
              </a:ext>
            </a:extLst>
          </p:cNvPr>
          <p:cNvSpPr txBox="1"/>
          <p:nvPr/>
        </p:nvSpPr>
        <p:spPr>
          <a:xfrm>
            <a:off x="1256956" y="2922021"/>
            <a:ext cx="1325151" cy="566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Business Requirements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44" name="Google Shape;311;p38">
            <a:extLst>
              <a:ext uri="{FF2B5EF4-FFF2-40B4-BE49-F238E27FC236}">
                <a16:creationId xmlns:a16="http://schemas.microsoft.com/office/drawing/2014/main" id="{D56DCC04-AABD-0AB3-A8EE-8FB5F10801F3}"/>
              </a:ext>
            </a:extLst>
          </p:cNvPr>
          <p:cNvSpPr/>
          <p:nvPr/>
        </p:nvSpPr>
        <p:spPr>
          <a:xfrm rot="16200000">
            <a:off x="1735696" y="4144857"/>
            <a:ext cx="71700" cy="717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457200"/>
            <a:endParaRPr sz="1600">
              <a:latin typeface="Franklin Gothic Medium" panose="020B0603020102020204" pitchFamily="34" charset="0"/>
            </a:endParaRPr>
          </a:p>
        </p:txBody>
      </p:sp>
      <p:sp>
        <p:nvSpPr>
          <p:cNvPr id="45" name="Google Shape;276;p38">
            <a:extLst>
              <a:ext uri="{FF2B5EF4-FFF2-40B4-BE49-F238E27FC236}">
                <a16:creationId xmlns:a16="http://schemas.microsoft.com/office/drawing/2014/main" id="{7F8868AE-37E9-EB76-C9D1-446DD21142B5}"/>
              </a:ext>
            </a:extLst>
          </p:cNvPr>
          <p:cNvSpPr txBox="1"/>
          <p:nvPr/>
        </p:nvSpPr>
        <p:spPr>
          <a:xfrm>
            <a:off x="2676260" y="2902970"/>
            <a:ext cx="1328811" cy="566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Scope of Work </a:t>
            </a:r>
            <a:b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</a:b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Definition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52" name="Google Shape;276;p38">
            <a:extLst>
              <a:ext uri="{FF2B5EF4-FFF2-40B4-BE49-F238E27FC236}">
                <a16:creationId xmlns:a16="http://schemas.microsoft.com/office/drawing/2014/main" id="{34015BD0-2A8A-28B9-CAC9-F945FB3229D1}"/>
              </a:ext>
            </a:extLst>
          </p:cNvPr>
          <p:cNvSpPr txBox="1"/>
          <p:nvPr/>
        </p:nvSpPr>
        <p:spPr>
          <a:xfrm>
            <a:off x="3906161" y="2917547"/>
            <a:ext cx="1229901" cy="566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Install Solution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54" name="Google Shape;276;p38">
            <a:extLst>
              <a:ext uri="{FF2B5EF4-FFF2-40B4-BE49-F238E27FC236}">
                <a16:creationId xmlns:a16="http://schemas.microsoft.com/office/drawing/2014/main" id="{F46D4EA4-F9AC-F80B-DF21-3BC292BC10C6}"/>
              </a:ext>
            </a:extLst>
          </p:cNvPr>
          <p:cNvSpPr txBox="1"/>
          <p:nvPr/>
        </p:nvSpPr>
        <p:spPr>
          <a:xfrm>
            <a:off x="5169260" y="2993888"/>
            <a:ext cx="1229901" cy="5663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Connect Solution</a:t>
            </a: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55" name="Google Shape;276;p38">
            <a:extLst>
              <a:ext uri="{FF2B5EF4-FFF2-40B4-BE49-F238E27FC236}">
                <a16:creationId xmlns:a16="http://schemas.microsoft.com/office/drawing/2014/main" id="{E8375D6B-A3FB-8F57-B163-EA99527976BF}"/>
              </a:ext>
            </a:extLst>
          </p:cNvPr>
          <p:cNvSpPr txBox="1"/>
          <p:nvPr/>
        </p:nvSpPr>
        <p:spPr>
          <a:xfrm>
            <a:off x="6604418" y="2999507"/>
            <a:ext cx="1229901" cy="849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Integrate</a:t>
            </a:r>
          </a:p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Solution</a:t>
            </a:r>
          </a:p>
          <a:p>
            <a:pPr algn="ctr" defTabSz="457200">
              <a:lnSpc>
                <a:spcPct val="115000"/>
              </a:lnSpc>
            </a:pP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cxnSp>
        <p:nvCxnSpPr>
          <p:cNvPr id="56" name="Google Shape;316;p38">
            <a:extLst>
              <a:ext uri="{FF2B5EF4-FFF2-40B4-BE49-F238E27FC236}">
                <a16:creationId xmlns:a16="http://schemas.microsoft.com/office/drawing/2014/main" id="{39194936-73DB-939F-29A3-12FDEFF147BC}"/>
              </a:ext>
            </a:extLst>
          </p:cNvPr>
          <p:cNvCxnSpPr>
            <a:cxnSpLocks/>
            <a:stCxn id="38" idx="4"/>
            <a:endCxn id="40" idx="0"/>
          </p:cNvCxnSpPr>
          <p:nvPr/>
        </p:nvCxnSpPr>
        <p:spPr>
          <a:xfrm flipV="1">
            <a:off x="5820061" y="4179737"/>
            <a:ext cx="1377874" cy="59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7" name="Google Shape;316;p38">
            <a:extLst>
              <a:ext uri="{FF2B5EF4-FFF2-40B4-BE49-F238E27FC236}">
                <a16:creationId xmlns:a16="http://schemas.microsoft.com/office/drawing/2014/main" id="{F15409CF-4567-9834-D2C6-B53944F8711E}"/>
              </a:ext>
            </a:extLst>
          </p:cNvPr>
          <p:cNvCxnSpPr>
            <a:cxnSpLocks/>
            <a:stCxn id="36" idx="4"/>
            <a:endCxn id="37" idx="0"/>
          </p:cNvCxnSpPr>
          <p:nvPr/>
        </p:nvCxnSpPr>
        <p:spPr>
          <a:xfrm flipV="1">
            <a:off x="3327060" y="4165204"/>
            <a:ext cx="1080123" cy="6819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8" name="Google Shape;316;p38">
            <a:extLst>
              <a:ext uri="{FF2B5EF4-FFF2-40B4-BE49-F238E27FC236}">
                <a16:creationId xmlns:a16="http://schemas.microsoft.com/office/drawing/2014/main" id="{73B8C136-E8BE-3922-F48C-94E24C7148C4}"/>
              </a:ext>
            </a:extLst>
          </p:cNvPr>
          <p:cNvCxnSpPr>
            <a:cxnSpLocks/>
            <a:endCxn id="36" idx="0"/>
          </p:cNvCxnSpPr>
          <p:nvPr/>
        </p:nvCxnSpPr>
        <p:spPr>
          <a:xfrm flipV="1">
            <a:off x="1807711" y="4172023"/>
            <a:ext cx="1447649" cy="253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2" name="Google Shape;316;p38">
            <a:extLst>
              <a:ext uri="{FF2B5EF4-FFF2-40B4-BE49-F238E27FC236}">
                <a16:creationId xmlns:a16="http://schemas.microsoft.com/office/drawing/2014/main" id="{52DC3D29-CBBA-9B96-FDA6-0341EB1AB2DD}"/>
              </a:ext>
            </a:extLst>
          </p:cNvPr>
          <p:cNvCxnSpPr>
            <a:cxnSpLocks/>
          </p:cNvCxnSpPr>
          <p:nvPr/>
        </p:nvCxnSpPr>
        <p:spPr>
          <a:xfrm>
            <a:off x="7256335" y="4179737"/>
            <a:ext cx="1391175" cy="3887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64" name="Google Shape;276;p38">
            <a:extLst>
              <a:ext uri="{FF2B5EF4-FFF2-40B4-BE49-F238E27FC236}">
                <a16:creationId xmlns:a16="http://schemas.microsoft.com/office/drawing/2014/main" id="{B00E9560-3958-30C8-6B69-CA80D0E0C6F2}"/>
              </a:ext>
            </a:extLst>
          </p:cNvPr>
          <p:cNvSpPr txBox="1"/>
          <p:nvPr/>
        </p:nvSpPr>
        <p:spPr>
          <a:xfrm>
            <a:off x="8013861" y="3009984"/>
            <a:ext cx="1229901" cy="849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Validate Solution</a:t>
            </a:r>
          </a:p>
          <a:p>
            <a:pPr algn="ctr" defTabSz="457200">
              <a:lnSpc>
                <a:spcPct val="115000"/>
              </a:lnSpc>
            </a:pP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cxnSp>
        <p:nvCxnSpPr>
          <p:cNvPr id="71" name="Google Shape;316;p38">
            <a:extLst>
              <a:ext uri="{FF2B5EF4-FFF2-40B4-BE49-F238E27FC236}">
                <a16:creationId xmlns:a16="http://schemas.microsoft.com/office/drawing/2014/main" id="{585E35C8-C000-3CED-06D0-B0E4A387B3DD}"/>
              </a:ext>
            </a:extLst>
          </p:cNvPr>
          <p:cNvCxnSpPr>
            <a:cxnSpLocks/>
          </p:cNvCxnSpPr>
          <p:nvPr/>
        </p:nvCxnSpPr>
        <p:spPr>
          <a:xfrm>
            <a:off x="8670059" y="4177793"/>
            <a:ext cx="1391175" cy="3887"/>
          </a:xfrm>
          <a:prstGeom prst="straightConnector1">
            <a:avLst/>
          </a:prstGeom>
          <a:noFill/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2" name="Google Shape;276;p38">
            <a:extLst>
              <a:ext uri="{FF2B5EF4-FFF2-40B4-BE49-F238E27FC236}">
                <a16:creationId xmlns:a16="http://schemas.microsoft.com/office/drawing/2014/main" id="{2948835E-C0D1-B8C7-B30D-ADAFD2D646D7}"/>
              </a:ext>
            </a:extLst>
          </p:cNvPr>
          <p:cNvSpPr txBox="1"/>
          <p:nvPr/>
        </p:nvSpPr>
        <p:spPr>
          <a:xfrm>
            <a:off x="9449019" y="3019284"/>
            <a:ext cx="1229901" cy="849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Transition to Sustain</a:t>
            </a:r>
          </a:p>
          <a:p>
            <a:pPr algn="ctr" defTabSz="457200">
              <a:lnSpc>
                <a:spcPct val="115000"/>
              </a:lnSpc>
            </a:pPr>
            <a:endParaRPr sz="1600">
              <a:latin typeface="Franklin Gothic Medium" panose="020B0603020102020204" pitchFamily="34" charset="0"/>
              <a:ea typeface="Inter Medium"/>
              <a:cs typeface="Inter Medium"/>
              <a:sym typeface="Inter Medium"/>
            </a:endParaRPr>
          </a:p>
        </p:txBody>
      </p:sp>
      <p:sp>
        <p:nvSpPr>
          <p:cNvPr id="73" name="Google Shape;286;p38">
            <a:extLst>
              <a:ext uri="{FF2B5EF4-FFF2-40B4-BE49-F238E27FC236}">
                <a16:creationId xmlns:a16="http://schemas.microsoft.com/office/drawing/2014/main" id="{BD915E06-4C34-439B-70F1-0A0711B5E166}"/>
              </a:ext>
            </a:extLst>
          </p:cNvPr>
          <p:cNvSpPr txBox="1"/>
          <p:nvPr/>
        </p:nvSpPr>
        <p:spPr>
          <a:xfrm>
            <a:off x="9564519" y="4362130"/>
            <a:ext cx="1276387" cy="2831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457200">
              <a:lnSpc>
                <a:spcPct val="115000"/>
              </a:lnSpc>
            </a:pPr>
            <a:r>
              <a:rPr lang="en" sz="1600">
                <a:latin typeface="Franklin Gothic Medium" panose="020B0603020102020204" pitchFamily="34" charset="0"/>
                <a:ea typeface="Inter Medium"/>
                <a:cs typeface="Inter Medium"/>
                <a:sym typeface="Inter Medium"/>
              </a:rPr>
              <a:t>Complete</a:t>
            </a:r>
          </a:p>
        </p:txBody>
      </p:sp>
      <p:sp>
        <p:nvSpPr>
          <p:cNvPr id="11" name="Subtitle 49">
            <a:extLst>
              <a:ext uri="{FF2B5EF4-FFF2-40B4-BE49-F238E27FC236}">
                <a16:creationId xmlns:a16="http://schemas.microsoft.com/office/drawing/2014/main" id="{3BC3A52D-3F3B-48E2-1E7E-FC7B6682904E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</p:spTree>
    <p:extLst>
      <p:ext uri="{BB962C8B-B14F-4D97-AF65-F5344CB8AC3E}">
        <p14:creationId xmlns:p14="http://schemas.microsoft.com/office/powerpoint/2010/main" val="13852411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B0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90BC97F-0E1A-6495-EB65-2A8A0021C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3FEE7AC-D213-2C23-A66A-8AD1D1F2A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259" y="3093994"/>
            <a:ext cx="6790457" cy="670011"/>
          </a:xfrm>
        </p:spPr>
        <p:txBody>
          <a:bodyPr wrap="square" lIns="0" tIns="45720" rIns="0" bIns="45720" rtlCol="0" anchor="t"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ROI Achieved with SLSVIEW</a:t>
            </a:r>
          </a:p>
        </p:txBody>
      </p:sp>
      <p:sp>
        <p:nvSpPr>
          <p:cNvPr id="22" name="Subtitle 49">
            <a:extLst>
              <a:ext uri="{FF2B5EF4-FFF2-40B4-BE49-F238E27FC236}">
                <a16:creationId xmlns:a16="http://schemas.microsoft.com/office/drawing/2014/main" id="{BFD78D91-4B30-6DCB-ED3C-D9494E152FA6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4E69DD-A6AD-BABA-7642-8E406F9DED9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7C9E9798-0B8E-ACF8-AC5B-95A93A5425FF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C2173F5-6432-465E-A768-2F9DE2D8ED5A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venir Next LT Pro" panose="020B0504020202020204" pitchFamily="34" charset="0"/>
              </a:rPr>
              <a:pPr algn="ctr">
                <a:defRPr/>
              </a:pPr>
              <a:t>21</a:t>
            </a:fld>
            <a:endParaRPr lang="en-US" sz="1200">
              <a:solidFill>
                <a:prstClr val="black">
                  <a:tint val="75000"/>
                </a:prstClr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5309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1">
            <a:extLst>
              <a:ext uri="{FF2B5EF4-FFF2-40B4-BE49-F238E27FC236}">
                <a16:creationId xmlns:a16="http://schemas.microsoft.com/office/drawing/2014/main" id="{C0A453BE-2571-2835-ADE1-29A08FC8D1CB}"/>
              </a:ext>
            </a:extLst>
          </p:cNvPr>
          <p:cNvSpPr txBox="1">
            <a:spLocks/>
          </p:cNvSpPr>
          <p:nvPr/>
        </p:nvSpPr>
        <p:spPr>
          <a:xfrm>
            <a:off x="1587500" y="1420769"/>
            <a:ext cx="9751060" cy="590931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ventory Management with SLSVIEW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EC88037C-8F4E-AE4A-2440-C1E4E1686880}"/>
              </a:ext>
            </a:extLst>
          </p:cNvPr>
          <p:cNvSpPr txBox="1">
            <a:spLocks/>
          </p:cNvSpPr>
          <p:nvPr/>
        </p:nvSpPr>
        <p:spPr>
          <a:xfrm>
            <a:off x="1549400" y="2138107"/>
            <a:ext cx="9001478" cy="33855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How much is it costing you to cycle count daily?​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72726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59" name="Text Placeholder 8">
            <a:extLst>
              <a:ext uri="{FF2B5EF4-FFF2-40B4-BE49-F238E27FC236}">
                <a16:creationId xmlns:a16="http://schemas.microsoft.com/office/drawing/2014/main" id="{8D756FF1-F65F-CD09-7443-576DE48D11DA}"/>
              </a:ext>
            </a:extLst>
          </p:cNvPr>
          <p:cNvSpPr txBox="1">
            <a:spLocks/>
          </p:cNvSpPr>
          <p:nvPr/>
        </p:nvSpPr>
        <p:spPr>
          <a:xfrm>
            <a:off x="1536700" y="1097482"/>
            <a:ext cx="3600724" cy="18466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se Study</a:t>
            </a:r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960AB84-7BF2-5FE4-095F-39668067A8CA}"/>
              </a:ext>
            </a:extLst>
          </p:cNvPr>
          <p:cNvCxnSpPr/>
          <p:nvPr/>
        </p:nvCxnSpPr>
        <p:spPr>
          <a:xfrm>
            <a:off x="4198637" y="4065648"/>
            <a:ext cx="201928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AE0E34E-2AA3-0D44-CFB8-5BFC3916CFF5}"/>
              </a:ext>
            </a:extLst>
          </p:cNvPr>
          <p:cNvCxnSpPr/>
          <p:nvPr/>
        </p:nvCxnSpPr>
        <p:spPr>
          <a:xfrm>
            <a:off x="4198637" y="4705728"/>
            <a:ext cx="201928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612FDB6F-74DB-BD59-47C8-26983F2D8A4C}"/>
              </a:ext>
            </a:extLst>
          </p:cNvPr>
          <p:cNvSpPr txBox="1"/>
          <p:nvPr/>
        </p:nvSpPr>
        <p:spPr>
          <a:xfrm>
            <a:off x="4102351" y="3477787"/>
            <a:ext cx="202412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90%+ reduction in labor requirement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F5C06C8-4F02-A9E3-124F-AED648B5FA8D}"/>
              </a:ext>
            </a:extLst>
          </p:cNvPr>
          <p:cNvSpPr txBox="1"/>
          <p:nvPr/>
        </p:nvSpPr>
        <p:spPr>
          <a:xfrm>
            <a:off x="4102351" y="4122342"/>
            <a:ext cx="202412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99%+ accuracy in a fraction of the tim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F15B3CB-8559-6FBB-BDB9-08BFDF0454D1}"/>
              </a:ext>
            </a:extLst>
          </p:cNvPr>
          <p:cNvSpPr txBox="1"/>
          <p:nvPr/>
        </p:nvSpPr>
        <p:spPr>
          <a:xfrm>
            <a:off x="4102351" y="4777058"/>
            <a:ext cx="217652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Product locations at the bay level 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338919F-2C3A-E4FA-80B2-499810A02370}"/>
              </a:ext>
            </a:extLst>
          </p:cNvPr>
          <p:cNvCxnSpPr/>
          <p:nvPr/>
        </p:nvCxnSpPr>
        <p:spPr>
          <a:xfrm>
            <a:off x="1638316" y="4065648"/>
            <a:ext cx="21513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C8FBEB6-B046-DF58-CF6B-100788E8E920}"/>
              </a:ext>
            </a:extLst>
          </p:cNvPr>
          <p:cNvCxnSpPr/>
          <p:nvPr/>
        </p:nvCxnSpPr>
        <p:spPr>
          <a:xfrm>
            <a:off x="1638316" y="4705728"/>
            <a:ext cx="21513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6567D379-18D1-3523-D725-A34775BD2639}"/>
              </a:ext>
            </a:extLst>
          </p:cNvPr>
          <p:cNvSpPr txBox="1"/>
          <p:nvPr/>
        </p:nvSpPr>
        <p:spPr>
          <a:xfrm>
            <a:off x="1542031" y="3477787"/>
            <a:ext cx="239496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High cost + low availability of human labor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7866EBE-5014-333A-EC74-AC71F82044C2}"/>
              </a:ext>
            </a:extLst>
          </p:cNvPr>
          <p:cNvSpPr txBox="1"/>
          <p:nvPr/>
        </p:nvSpPr>
        <p:spPr>
          <a:xfrm>
            <a:off x="1542031" y="4122342"/>
            <a:ext cx="229844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Lost inventory (85-95% inventory accuracy)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8BE7FF0-03D2-8CF9-51AE-CA750BFD4728}"/>
              </a:ext>
            </a:extLst>
          </p:cNvPr>
          <p:cNvSpPr txBox="1"/>
          <p:nvPr/>
        </p:nvSpPr>
        <p:spPr>
          <a:xfrm>
            <a:off x="1542031" y="4766898"/>
            <a:ext cx="229844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Unknown product locations within facility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06BFE74B-FDBE-3BA6-AA72-1A0F26C3F3E7}"/>
              </a:ext>
            </a:extLst>
          </p:cNvPr>
          <p:cNvCxnSpPr>
            <a:cxnSpLocks/>
          </p:cNvCxnSpPr>
          <p:nvPr/>
        </p:nvCxnSpPr>
        <p:spPr>
          <a:xfrm>
            <a:off x="1631985" y="3399180"/>
            <a:ext cx="21482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510F3B9-F5AC-84E1-EEAB-EF640BD151BA}"/>
              </a:ext>
            </a:extLst>
          </p:cNvPr>
          <p:cNvCxnSpPr/>
          <p:nvPr/>
        </p:nvCxnSpPr>
        <p:spPr>
          <a:xfrm>
            <a:off x="4198637" y="5345808"/>
            <a:ext cx="201928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73C29ED-6E58-C24F-8BBB-0AF96B6E6492}"/>
              </a:ext>
            </a:extLst>
          </p:cNvPr>
          <p:cNvCxnSpPr/>
          <p:nvPr/>
        </p:nvCxnSpPr>
        <p:spPr>
          <a:xfrm>
            <a:off x="1638316" y="5345808"/>
            <a:ext cx="21513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7C232B0-C9B4-DAD3-F9A7-F0406A04C58D}"/>
              </a:ext>
            </a:extLst>
          </p:cNvPr>
          <p:cNvSpPr txBox="1"/>
          <p:nvPr/>
        </p:nvSpPr>
        <p:spPr>
          <a:xfrm>
            <a:off x="4100917" y="5418818"/>
            <a:ext cx="2176529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ptimal stocking level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  <a:sym typeface="Symbol" panose="05050102010706020507" pitchFamily="18" charset="2"/>
              </a:rPr>
              <a:t>= 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aximized sales 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51BD0F0-1294-7E48-AF62-F69EA646A976}"/>
              </a:ext>
            </a:extLst>
          </p:cNvPr>
          <p:cNvSpPr txBox="1"/>
          <p:nvPr/>
        </p:nvSpPr>
        <p:spPr>
          <a:xfrm>
            <a:off x="1540597" y="5516379"/>
            <a:ext cx="2355542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Lost sales due to stockout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2D0AAD3-59F1-2902-B861-B728E0BB528D}"/>
              </a:ext>
            </a:extLst>
          </p:cNvPr>
          <p:cNvCxnSpPr/>
          <p:nvPr/>
        </p:nvCxnSpPr>
        <p:spPr>
          <a:xfrm>
            <a:off x="4197203" y="5987568"/>
            <a:ext cx="201928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882DBCF-4123-BD27-2E43-447E0214E3F5}"/>
              </a:ext>
            </a:extLst>
          </p:cNvPr>
          <p:cNvCxnSpPr/>
          <p:nvPr/>
        </p:nvCxnSpPr>
        <p:spPr>
          <a:xfrm>
            <a:off x="1636882" y="5987568"/>
            <a:ext cx="21513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0B7230F3-DD05-2B77-EDAA-62B9D34613C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7" name="Subtitle 49">
            <a:extLst>
              <a:ext uri="{FF2B5EF4-FFF2-40B4-BE49-F238E27FC236}">
                <a16:creationId xmlns:a16="http://schemas.microsoft.com/office/drawing/2014/main" id="{E6BD433A-1BE9-0F74-1C70-F00CE54D21A2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70945E6E-3E95-E74E-9860-0A34BC67C06E}"/>
              </a:ext>
            </a:extLst>
          </p:cNvPr>
          <p:cNvSpPr txBox="1">
            <a:spLocks/>
          </p:cNvSpPr>
          <p:nvPr/>
        </p:nvSpPr>
        <p:spPr>
          <a:xfrm>
            <a:off x="6910493" y="3123964"/>
            <a:ext cx="4428067" cy="3268714"/>
          </a:xfrm>
          <a:prstGeom prst="roundRect">
            <a:avLst>
              <a:gd name="adj" fmla="val 5520"/>
            </a:avLst>
          </a:prstGeom>
          <a:solidFill>
            <a:srgbClr val="FFB300"/>
          </a:solidFill>
        </p:spPr>
        <p:txBody>
          <a:bodyPr vert="horz" lIns="180000" tIns="180000" rIns="180000" bIns="180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 Demi" panose="020B0504020202020204" pitchFamily="34" charset="77"/>
                <a:ea typeface="+mn-ea"/>
                <a:cs typeface="+mn-cs"/>
              </a:rPr>
              <a:t>Ask: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Reduce 1,000 lost pieces of inventory per month (~$200 / piece)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</a:b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 Demi" panose="020B0504020202020204" pitchFamily="34" charset="77"/>
                <a:ea typeface="+mn-ea"/>
                <a:cs typeface="+mn-cs"/>
              </a:rPr>
              <a:t>Results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$3,564,000 in annual saving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95% reduction in lost inventory​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4-month ROI on ~$1M initial investm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hargeback reduction of $75,000/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y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​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Now implementing dealership receipt verification program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3AB10839-C455-EA41-CDA0-C26AEDA80EB6}"/>
              </a:ext>
            </a:extLst>
          </p:cNvPr>
          <p:cNvSpPr txBox="1">
            <a:spLocks/>
          </p:cNvSpPr>
          <p:nvPr/>
        </p:nvSpPr>
        <p:spPr>
          <a:xfrm>
            <a:off x="4100917" y="3049877"/>
            <a:ext cx="2238560" cy="45191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B3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Benefit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B3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65F1E1C5-DD7B-FBAD-75A7-5C871F8DF601}"/>
              </a:ext>
            </a:extLst>
          </p:cNvPr>
          <p:cNvSpPr txBox="1">
            <a:spLocks/>
          </p:cNvSpPr>
          <p:nvPr/>
        </p:nvSpPr>
        <p:spPr>
          <a:xfrm>
            <a:off x="1549400" y="3055015"/>
            <a:ext cx="2238560" cy="45191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 panose="020B0504020202020204" pitchFamily="34" charset="0"/>
              </a:rPr>
              <a:t>Challenge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4A4C4A-BA38-6250-BF08-9AEB607980A5}"/>
              </a:ext>
            </a:extLst>
          </p:cNvPr>
          <p:cNvCxnSpPr>
            <a:cxnSpLocks/>
          </p:cNvCxnSpPr>
          <p:nvPr/>
        </p:nvCxnSpPr>
        <p:spPr>
          <a:xfrm flipV="1">
            <a:off x="4197203" y="3389599"/>
            <a:ext cx="2019283" cy="4218"/>
          </a:xfrm>
          <a:prstGeom prst="line">
            <a:avLst/>
          </a:prstGeom>
          <a:ln w="19050">
            <a:solidFill>
              <a:srgbClr val="FFB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948A4097-60A2-763B-8356-7CBA8BAE8AA3}"/>
              </a:ext>
            </a:extLst>
          </p:cNvPr>
          <p:cNvSpPr txBox="1">
            <a:spLocks/>
          </p:cNvSpPr>
          <p:nvPr/>
        </p:nvSpPr>
        <p:spPr>
          <a:xfrm>
            <a:off x="6910493" y="2826174"/>
            <a:ext cx="5237776" cy="2215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400" b="1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Franklin Gothic Medium" panose="020B06030201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</a:rPr>
              <a:t>Building Technologies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</a:rPr>
              <a:t>Compan</a:t>
            </a:r>
            <a:r>
              <a:rPr lang="en-US" sz="1600" b="0">
                <a:solidFill>
                  <a:schemeClr val="bg1">
                    <a:lumMod val="50000"/>
                  </a:schemeClr>
                </a:solidFill>
                <a:latin typeface="Avenir Next LT Pro Demi" panose="020B0704020202020204" pitchFamily="34" charset="0"/>
              </a:rPr>
              <a:t>y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2FBBE297-71FD-6CF6-FEFC-E7BF61DB6831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C2173F5-6432-465E-A768-2F9DE2D8ED5A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venir Next LT Pro" panose="020B0504020202020204" pitchFamily="34" charset="0"/>
              </a:rPr>
              <a:pPr algn="ctr">
                <a:defRPr/>
              </a:pPr>
              <a:t>22</a:t>
            </a:fld>
            <a:endParaRPr lang="en-US" sz="1200">
              <a:solidFill>
                <a:prstClr val="black">
                  <a:tint val="75000"/>
                </a:prstClr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2190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3FE1F09-FB6A-55D1-752A-DB914D391E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19E7D23-FD52-59F3-14AE-09FC0F02580A}"/>
              </a:ext>
            </a:extLst>
          </p:cNvPr>
          <p:cNvSpPr/>
          <p:nvPr/>
        </p:nvSpPr>
        <p:spPr>
          <a:xfrm>
            <a:off x="5476875" y="0"/>
            <a:ext cx="6535586" cy="6858000"/>
          </a:xfrm>
          <a:prstGeom prst="rect">
            <a:avLst/>
          </a:prstGeom>
          <a:gradFill>
            <a:gsLst>
              <a:gs pos="100000">
                <a:srgbClr val="272726">
                  <a:alpha val="0"/>
                </a:srgbClr>
              </a:gs>
              <a:gs pos="0">
                <a:srgbClr val="FFB300">
                  <a:alpha val="7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E333603-9DE7-8BD3-0D31-0EA9D6EE11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57225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EE65912-6576-EA25-B66C-1751895D61FA}"/>
              </a:ext>
            </a:extLst>
          </p:cNvPr>
          <p:cNvSpPr txBox="1">
            <a:spLocks/>
          </p:cNvSpPr>
          <p:nvPr/>
        </p:nvSpPr>
        <p:spPr>
          <a:xfrm>
            <a:off x="439118" y="2899843"/>
            <a:ext cx="4795222" cy="91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147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147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824051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8749B9-DEF1-11D3-A025-C376330FA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259" y="3093994"/>
            <a:ext cx="6790457" cy="670011"/>
          </a:xfrm>
        </p:spPr>
        <p:txBody>
          <a:bodyPr/>
          <a:lstStyle/>
          <a:p>
            <a:pPr algn="ctr"/>
            <a:r>
              <a:rPr lang="en-US">
                <a:solidFill>
                  <a:schemeClr val="tx2"/>
                </a:solidFill>
              </a:rPr>
              <a:t>Appendix</a:t>
            </a:r>
          </a:p>
        </p:txBody>
      </p:sp>
      <p:sp>
        <p:nvSpPr>
          <p:cNvPr id="22" name="Subtitle 49">
            <a:extLst>
              <a:ext uri="{FF2B5EF4-FFF2-40B4-BE49-F238E27FC236}">
                <a16:creationId xmlns:a16="http://schemas.microsoft.com/office/drawing/2014/main" id="{E5262B32-EB53-BCE8-5241-97D8580BBCB8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4DA833-40EA-8B4E-1083-3BA1880276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AC77E2C7-1C0D-82BC-043C-3193B267CA37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10583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9398C40-7001-A0BC-E91C-602507421960}"/>
              </a:ext>
            </a:extLst>
          </p:cNvPr>
          <p:cNvSpPr txBox="1"/>
          <p:nvPr/>
        </p:nvSpPr>
        <p:spPr>
          <a:xfrm>
            <a:off x="8892217" y="3648581"/>
            <a:ext cx="2862458" cy="209288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776EB"/>
              </a:buClr>
              <a:buSzTx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GS1 EPC Information Services (EPCIS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776EB"/>
              </a:buClr>
              <a:buSzTx/>
              <a:tabLst/>
              <a:defRPr/>
            </a:pP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776EB"/>
              </a:buClr>
              <a:buSzTx/>
              <a:tabLst/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GS1 EPC Tag Data Standard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776EB"/>
              </a:buClr>
              <a:buSzTx/>
              <a:tabLst/>
              <a:defRPr/>
            </a:pP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776EB"/>
              </a:buClr>
              <a:buSzTx/>
              <a:tabLst/>
              <a:defRPr/>
            </a:pPr>
            <a:r>
              <a:rPr lang="en-US" sz="1400">
                <a:solidFill>
                  <a:srgbClr val="000000"/>
                </a:solidFill>
                <a:latin typeface="Avenir Next LT Pro" panose="020B0504020202020204" pitchFamily="34" charset="0"/>
              </a:rPr>
              <a:t>GS1 Core Business Vocabulary (CBV) Standard</a:t>
            </a:r>
            <a:endParaRPr lang="en-US" sz="2000">
              <a:solidFill>
                <a:srgbClr val="0000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3E60854-E1C4-3DB6-95FA-E98176DACB55}"/>
              </a:ext>
            </a:extLst>
          </p:cNvPr>
          <p:cNvSpPr txBox="1">
            <a:spLocks/>
          </p:cNvSpPr>
          <p:nvPr/>
        </p:nvSpPr>
        <p:spPr>
          <a:xfrm>
            <a:off x="3341450" y="1180097"/>
            <a:ext cx="550910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SLSVIEW</a:t>
            </a:r>
            <a:r>
              <a:rPr lang="pt-BR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 Hub</a:t>
            </a:r>
            <a:endParaRPr lang="pt-BR">
              <a:solidFill>
                <a:schemeClr val="tx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D81A716-C463-52C8-9546-EA69F9688E3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70" name="Subtitle 49">
            <a:extLst>
              <a:ext uri="{FF2B5EF4-FFF2-40B4-BE49-F238E27FC236}">
                <a16:creationId xmlns:a16="http://schemas.microsoft.com/office/drawing/2014/main" id="{B1FAF589-CB2D-F3C3-EBFA-E89469976157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CB7D9074-3895-8545-04CA-1FE8D4072F3A}"/>
              </a:ext>
            </a:extLst>
          </p:cNvPr>
          <p:cNvCxnSpPr/>
          <p:nvPr/>
        </p:nvCxnSpPr>
        <p:spPr>
          <a:xfrm>
            <a:off x="7442200" y="2252627"/>
            <a:ext cx="0" cy="3834280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86D8B51B-FB26-B78A-50BA-618D2A4367F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02377" y="3708253"/>
            <a:ext cx="497036" cy="484733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33B33F0D-9F2E-E9FD-2F8B-C790FE45C20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54611" y="4446835"/>
            <a:ext cx="392568" cy="496372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0612D2A0-EC71-89AB-DB53-CBAB7C3BC71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28370" y="5248283"/>
            <a:ext cx="396528" cy="396528"/>
          </a:xfrm>
          <a:prstGeom prst="rect">
            <a:avLst/>
          </a:prstGeom>
        </p:spPr>
      </p:pic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B9408904-0A2D-ECB3-7D1D-B0449A5B6F5C}"/>
              </a:ext>
            </a:extLst>
          </p:cNvPr>
          <p:cNvSpPr txBox="1">
            <a:spLocks/>
          </p:cNvSpPr>
          <p:nvPr/>
        </p:nvSpPr>
        <p:spPr>
          <a:xfrm>
            <a:off x="2868932" y="2131877"/>
            <a:ext cx="1646433" cy="490367"/>
          </a:xfrm>
          <a:prstGeom prst="roundRect">
            <a:avLst>
              <a:gd name="adj" fmla="val 1361"/>
            </a:avLst>
          </a:prstGeom>
          <a:solidFill>
            <a:schemeClr val="bg2"/>
          </a:solidFill>
          <a:ln w="19050">
            <a:noFill/>
          </a:ln>
        </p:spPr>
        <p:txBody>
          <a:bodyPr vert="horz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schemeClr val="tx1"/>
                </a:solidFill>
                <a:latin typeface="Avenir Next LT Pro Demi" panose="020B0704020202020204" pitchFamily="34" charset="0"/>
              </a:rPr>
              <a:t>H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ost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 System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060F46C-6D15-9CA5-C322-C41E4F55C706}"/>
              </a:ext>
            </a:extLst>
          </p:cNvPr>
          <p:cNvCxnSpPr>
            <a:cxnSpLocks/>
            <a:stCxn id="18" idx="0"/>
            <a:endCxn id="2" idx="2"/>
          </p:cNvCxnSpPr>
          <p:nvPr/>
        </p:nvCxnSpPr>
        <p:spPr>
          <a:xfrm flipV="1">
            <a:off x="3692148" y="2622244"/>
            <a:ext cx="1" cy="297785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or: Elbow 98">
            <a:extLst>
              <a:ext uri="{FF2B5EF4-FFF2-40B4-BE49-F238E27FC236}">
                <a16:creationId xmlns:a16="http://schemas.microsoft.com/office/drawing/2014/main" id="{F35EA3C0-449A-5C0C-E6C9-BBCDA2497795}"/>
              </a:ext>
            </a:extLst>
          </p:cNvPr>
          <p:cNvCxnSpPr>
            <a:cxnSpLocks/>
            <a:stCxn id="15" idx="2"/>
          </p:cNvCxnSpPr>
          <p:nvPr/>
        </p:nvCxnSpPr>
        <p:spPr>
          <a:xfrm rot="16200000" flipH="1">
            <a:off x="4546302" y="3670085"/>
            <a:ext cx="564319" cy="2272097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105">
            <a:extLst>
              <a:ext uri="{FF2B5EF4-FFF2-40B4-BE49-F238E27FC236}">
                <a16:creationId xmlns:a16="http://schemas.microsoft.com/office/drawing/2014/main" id="{F009EF3B-4FA5-3575-B65B-11950F70788C}"/>
              </a:ext>
            </a:extLst>
          </p:cNvPr>
          <p:cNvCxnSpPr>
            <a:cxnSpLocks/>
            <a:stCxn id="15" idx="2"/>
          </p:cNvCxnSpPr>
          <p:nvPr/>
        </p:nvCxnSpPr>
        <p:spPr>
          <a:xfrm rot="16200000" flipH="1">
            <a:off x="3976224" y="4240164"/>
            <a:ext cx="568426" cy="1136048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116">
            <a:extLst>
              <a:ext uri="{FF2B5EF4-FFF2-40B4-BE49-F238E27FC236}">
                <a16:creationId xmlns:a16="http://schemas.microsoft.com/office/drawing/2014/main" id="{4FB994FF-41FD-096C-AA3D-9A1E6B538662}"/>
              </a:ext>
            </a:extLst>
          </p:cNvPr>
          <p:cNvCxnSpPr>
            <a:cxnSpLocks/>
            <a:stCxn id="15" idx="2"/>
          </p:cNvCxnSpPr>
          <p:nvPr/>
        </p:nvCxnSpPr>
        <p:spPr>
          <a:xfrm rot="5400000">
            <a:off x="2272151" y="3672139"/>
            <a:ext cx="568426" cy="2272099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or: Elbow 119">
            <a:extLst>
              <a:ext uri="{FF2B5EF4-FFF2-40B4-BE49-F238E27FC236}">
                <a16:creationId xmlns:a16="http://schemas.microsoft.com/office/drawing/2014/main" id="{EE0FD840-A47C-5321-D94D-E966F5382136}"/>
              </a:ext>
            </a:extLst>
          </p:cNvPr>
          <p:cNvCxnSpPr>
            <a:cxnSpLocks/>
            <a:stCxn id="15" idx="2"/>
          </p:cNvCxnSpPr>
          <p:nvPr/>
        </p:nvCxnSpPr>
        <p:spPr>
          <a:xfrm rot="5400000">
            <a:off x="2840155" y="4240183"/>
            <a:ext cx="568467" cy="1136050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2">
            <a:extLst>
              <a:ext uri="{FF2B5EF4-FFF2-40B4-BE49-F238E27FC236}">
                <a16:creationId xmlns:a16="http://schemas.microsoft.com/office/drawing/2014/main" id="{FB529704-C49E-E58D-15CC-9AAC982BD137}"/>
              </a:ext>
            </a:extLst>
          </p:cNvPr>
          <p:cNvCxnSpPr>
            <a:cxnSpLocks/>
            <a:stCxn id="15" idx="2"/>
          </p:cNvCxnSpPr>
          <p:nvPr/>
        </p:nvCxnSpPr>
        <p:spPr>
          <a:xfrm rot="5400000">
            <a:off x="3408200" y="4808188"/>
            <a:ext cx="568426" cy="1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43D8D4CA-0081-7F4B-31D1-6659D5A165CC}"/>
              </a:ext>
            </a:extLst>
          </p:cNvPr>
          <p:cNvSpPr txBox="1">
            <a:spLocks/>
          </p:cNvSpPr>
          <p:nvPr/>
        </p:nvSpPr>
        <p:spPr>
          <a:xfrm>
            <a:off x="2640818" y="3871972"/>
            <a:ext cx="2103189" cy="652003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FFC000"/>
            </a:solidFill>
          </a:ln>
        </p:spPr>
        <p:txBody>
          <a:bodyPr vert="horz" lIns="180000" tIns="180000" rIns="180000" bIns="180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SLSVIEW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62C36D0-1656-56E8-3599-8B83DF4BA584}"/>
              </a:ext>
            </a:extLst>
          </p:cNvPr>
          <p:cNvCxnSpPr>
            <a:cxnSpLocks/>
            <a:stCxn id="15" idx="0"/>
            <a:endCxn id="18" idx="2"/>
          </p:cNvCxnSpPr>
          <p:nvPr/>
        </p:nvCxnSpPr>
        <p:spPr>
          <a:xfrm flipH="1" flipV="1">
            <a:off x="3692148" y="3572033"/>
            <a:ext cx="265" cy="299939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2">
            <a:extLst>
              <a:ext uri="{FF2B5EF4-FFF2-40B4-BE49-F238E27FC236}">
                <a16:creationId xmlns:a16="http://schemas.microsoft.com/office/drawing/2014/main" id="{5944CF5C-DE0B-817E-E021-35527F89E07C}"/>
              </a:ext>
            </a:extLst>
          </p:cNvPr>
          <p:cNvSpPr txBox="1">
            <a:spLocks/>
          </p:cNvSpPr>
          <p:nvPr/>
        </p:nvSpPr>
        <p:spPr>
          <a:xfrm>
            <a:off x="2012968" y="2920029"/>
            <a:ext cx="3358360" cy="652004"/>
          </a:xfrm>
          <a:prstGeom prst="roundRect">
            <a:avLst>
              <a:gd name="adj" fmla="val 14110"/>
            </a:avLst>
          </a:prstGeom>
          <a:solidFill>
            <a:srgbClr val="FFCB00"/>
          </a:solidFill>
          <a:ln w="19050">
            <a:noFill/>
          </a:ln>
        </p:spPr>
        <p:txBody>
          <a:bodyPr vert="horz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schemeClr val="tx1"/>
                </a:solidFill>
                <a:latin typeface="Avenir Next LT Pro Demi" panose="020B0704020202020204" pitchFamily="34" charset="0"/>
              </a:rPr>
              <a:t>SLSVIEW Hub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E6959E6-47AC-5444-E111-D80419CCD40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1999" y="5309590"/>
            <a:ext cx="796629" cy="65178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6B99CBA-BA43-0E06-1ACF-E0ACAEEF0A4C}"/>
              </a:ext>
            </a:extLst>
          </p:cNvPr>
          <p:cNvSpPr txBox="1"/>
          <p:nvPr/>
        </p:nvSpPr>
        <p:spPr>
          <a:xfrm>
            <a:off x="894648" y="6071690"/>
            <a:ext cx="1051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venir Next LT Pro Demi" panose="020B0704020202020204" pitchFamily="34" charset="0"/>
              </a:rPr>
              <a:t>Portal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0668AEAE-AE98-4E74-D9D3-207F22B85082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flipH="1">
            <a:off x="3162500" y="5285317"/>
            <a:ext cx="1072975" cy="661835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81361DE3-067E-7DF2-E880-58C70B9F400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flipH="1">
            <a:off x="4480082" y="5283645"/>
            <a:ext cx="725345" cy="665178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D45EDF98-DE57-85DF-79AD-A8AB46F7F3C8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flipH="1">
            <a:off x="5757135" y="5204163"/>
            <a:ext cx="427853" cy="748743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3D7D8A37-4402-4E07-9ED6-92EAB2BED077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364932" y="5295147"/>
            <a:ext cx="595309" cy="652005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A8B7CE03-6689-5992-E604-0710FB01F7E6}"/>
              </a:ext>
            </a:extLst>
          </p:cNvPr>
          <p:cNvSpPr txBox="1"/>
          <p:nvPr/>
        </p:nvSpPr>
        <p:spPr>
          <a:xfrm>
            <a:off x="2030698" y="6071690"/>
            <a:ext cx="1051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venir Next LT Pro Demi" panose="020B0704020202020204" pitchFamily="34" charset="0"/>
              </a:rPr>
              <a:t>Mobil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9B7258C-8CF0-3799-1E6C-56F10119EDCF}"/>
              </a:ext>
            </a:extLst>
          </p:cNvPr>
          <p:cNvSpPr txBox="1"/>
          <p:nvPr/>
        </p:nvSpPr>
        <p:spPr>
          <a:xfrm>
            <a:off x="3184145" y="6056902"/>
            <a:ext cx="1051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venir Next LT Pro Demi" panose="020B0704020202020204" pitchFamily="34" charset="0"/>
              </a:rPr>
              <a:t>Tunne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4993D22-C39F-E4A4-9740-91637D314EE6}"/>
              </a:ext>
            </a:extLst>
          </p:cNvPr>
          <p:cNvSpPr txBox="1"/>
          <p:nvPr/>
        </p:nvSpPr>
        <p:spPr>
          <a:xfrm>
            <a:off x="4267084" y="6056902"/>
            <a:ext cx="11360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venir Next LT Pro Demi" panose="020B0704020202020204" pitchFamily="34" charset="0"/>
              </a:rPr>
              <a:t>Tabletop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03A6C47-6572-1C57-ED9E-5D43F00BCA68}"/>
              </a:ext>
            </a:extLst>
          </p:cNvPr>
          <p:cNvSpPr txBox="1"/>
          <p:nvPr/>
        </p:nvSpPr>
        <p:spPr>
          <a:xfrm>
            <a:off x="5396487" y="6056901"/>
            <a:ext cx="11360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>
                <a:latin typeface="Avenir Next LT Pro Demi" panose="020B0704020202020204" pitchFamily="34" charset="0"/>
              </a:rPr>
              <a:t>Handheld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3D23357-BA95-4D79-6669-4E4773F9F754}"/>
              </a:ext>
            </a:extLst>
          </p:cNvPr>
          <p:cNvSpPr txBox="1">
            <a:spLocks/>
          </p:cNvSpPr>
          <p:nvPr/>
        </p:nvSpPr>
        <p:spPr>
          <a:xfrm>
            <a:off x="8548128" y="2397967"/>
            <a:ext cx="2817799" cy="6647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pt-BR" sz="2400" err="1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Built</a:t>
            </a:r>
            <a:r>
              <a:rPr lang="pt-BR" sz="2400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sz="2400" err="1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with</a:t>
            </a:r>
            <a:r>
              <a:rPr lang="pt-BR" sz="2400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 GS1 Standards</a:t>
            </a:r>
            <a:endParaRPr lang="pt-BR" sz="2400">
              <a:solidFill>
                <a:schemeClr val="tx1"/>
              </a:solidFill>
              <a:latin typeface="Avenir Next LT Pro Demi"/>
            </a:endParaRPr>
          </a:p>
        </p:txBody>
      </p:sp>
    </p:spTree>
    <p:extLst>
      <p:ext uri="{BB962C8B-B14F-4D97-AF65-F5344CB8AC3E}">
        <p14:creationId xmlns:p14="http://schemas.microsoft.com/office/powerpoint/2010/main" val="14491256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8749B9-DEF1-11D3-A025-C376330FA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259" y="3093994"/>
            <a:ext cx="6790457" cy="670011"/>
          </a:xfrm>
        </p:spPr>
        <p:txBody>
          <a:bodyPr/>
          <a:lstStyle/>
          <a:p>
            <a:pPr algn="ctr"/>
            <a:r>
              <a:rPr lang="en-US">
                <a:solidFill>
                  <a:schemeClr val="tx2"/>
                </a:solidFill>
              </a:rPr>
              <a:t>Workflow Example: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Shipment Verification</a:t>
            </a:r>
          </a:p>
        </p:txBody>
      </p:sp>
      <p:sp>
        <p:nvSpPr>
          <p:cNvPr id="22" name="Subtitle 49">
            <a:extLst>
              <a:ext uri="{FF2B5EF4-FFF2-40B4-BE49-F238E27FC236}">
                <a16:creationId xmlns:a16="http://schemas.microsoft.com/office/drawing/2014/main" id="{E5262B32-EB53-BCE8-5241-97D8580BBCB8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4DA833-40EA-8B4E-1083-3BA1880276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AC77E2C7-1C0D-82BC-043C-3193B267CA37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1077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0128132-DE68-07ED-4DA7-2136BA0B7F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8335" y="2478051"/>
            <a:ext cx="4980494" cy="3103786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151B34D-98F2-535F-F612-6B3239E6C909}"/>
              </a:ext>
            </a:extLst>
          </p:cNvPr>
          <p:cNvSpPr/>
          <p:nvPr/>
        </p:nvSpPr>
        <p:spPr>
          <a:xfrm>
            <a:off x="7778522" y="9331"/>
            <a:ext cx="4407319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00FD449-B874-9317-F990-3D1E6D1C8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Ship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8FA942-7F1A-AEBA-25C0-C2466F3D978A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  <a:lumOff val="50000"/>
                  </a:srgb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utomated Shipping and Receiving Tracking</a:t>
            </a:r>
          </a:p>
        </p:txBody>
      </p:sp>
      <p:sp>
        <p:nvSpPr>
          <p:cNvPr id="59" name="Subtitle 49">
            <a:extLst>
              <a:ext uri="{FF2B5EF4-FFF2-40B4-BE49-F238E27FC236}">
                <a16:creationId xmlns:a16="http://schemas.microsoft.com/office/drawing/2014/main" id="{D8A110F0-1FDF-36D4-8134-FC6D84A7B4B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984F028-FA77-F393-C255-84484C2C451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6AE26450-87D2-A441-54D2-E928F1FED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22" name="Picture 21" descr="A black screen with a white border&#10;&#10;Description automatically generated">
            <a:extLst>
              <a:ext uri="{FF2B5EF4-FFF2-40B4-BE49-F238E27FC236}">
                <a16:creationId xmlns:a16="http://schemas.microsoft.com/office/drawing/2014/main" id="{4D586650-7668-2CFF-AB07-1DC8096D4F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9294" y="2269538"/>
            <a:ext cx="5392276" cy="350403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FACDB844-4C3F-6355-FF21-4801892BEAC6}"/>
              </a:ext>
            </a:extLst>
          </p:cNvPr>
          <p:cNvSpPr txBox="1"/>
          <p:nvPr/>
        </p:nvSpPr>
        <p:spPr>
          <a:xfrm>
            <a:off x="8224694" y="1908595"/>
            <a:ext cx="3535673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rint with Select Shipment by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ick the order to ship</a:t>
            </a: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/>
            </a:endParaRPr>
          </a:p>
        </p:txBody>
      </p:sp>
    </p:spTree>
    <p:extLst>
      <p:ext uri="{BB962C8B-B14F-4D97-AF65-F5344CB8AC3E}">
        <p14:creationId xmlns:p14="http://schemas.microsoft.com/office/powerpoint/2010/main" val="19586089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0128132-DE68-07ED-4DA7-2136BA0B7F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8335" y="2485306"/>
            <a:ext cx="4980494" cy="3089275"/>
          </a:xfrm>
          <a:prstGeom prst="rect">
            <a:avLst/>
          </a:prstGeom>
        </p:spPr>
      </p:pic>
      <p:pic>
        <p:nvPicPr>
          <p:cNvPr id="22" name="Picture 21" descr="A black screen with a white border&#10;&#10;Description automatically generated">
            <a:extLst>
              <a:ext uri="{FF2B5EF4-FFF2-40B4-BE49-F238E27FC236}">
                <a16:creationId xmlns:a16="http://schemas.microsoft.com/office/drawing/2014/main" id="{4D586650-7668-2CFF-AB07-1DC8096D4F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9294" y="2269538"/>
            <a:ext cx="5392276" cy="3504035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151B34D-98F2-535F-F612-6B3239E6C909}"/>
              </a:ext>
            </a:extLst>
          </p:cNvPr>
          <p:cNvSpPr/>
          <p:nvPr/>
        </p:nvSpPr>
        <p:spPr>
          <a:xfrm>
            <a:off x="7778522" y="9331"/>
            <a:ext cx="4407319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00FD449-B874-9317-F990-3D1E6D1C8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Ship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8FA942-7F1A-AEBA-25C0-C2466F3D978A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  <a:lumOff val="50000"/>
                  </a:srgb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utomated Shipping and Receiving Tracking</a:t>
            </a:r>
          </a:p>
        </p:txBody>
      </p:sp>
      <p:sp>
        <p:nvSpPr>
          <p:cNvPr id="59" name="Subtitle 49">
            <a:extLst>
              <a:ext uri="{FF2B5EF4-FFF2-40B4-BE49-F238E27FC236}">
                <a16:creationId xmlns:a16="http://schemas.microsoft.com/office/drawing/2014/main" id="{D8A110F0-1FDF-36D4-8134-FC6D84A7B4B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984F028-FA77-F393-C255-84484C2C45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6AE26450-87D2-A441-54D2-E928F1FED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CDB844-4C3F-6355-FF21-4801892BEAC6}"/>
              </a:ext>
            </a:extLst>
          </p:cNvPr>
          <p:cNvSpPr txBox="1"/>
          <p:nvPr/>
        </p:nvSpPr>
        <p:spPr>
          <a:xfrm>
            <a:off x="8224694" y="1908595"/>
            <a:ext cx="3535673" cy="181588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rint with Select Shipment by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ick the order to ship</a:t>
            </a:r>
            <a:endParaRPr lang="en-US" sz="1400">
              <a:solidFill>
                <a:srgbClr val="2D2E34"/>
              </a:solidFill>
              <a:latin typeface="Avenir Next LT Pro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Ability to pick order of different parts and different quantities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"/>
            </a:endParaRPr>
          </a:p>
        </p:txBody>
      </p:sp>
    </p:spTree>
    <p:extLst>
      <p:ext uri="{BB962C8B-B14F-4D97-AF65-F5344CB8AC3E}">
        <p14:creationId xmlns:p14="http://schemas.microsoft.com/office/powerpoint/2010/main" val="18090262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0128132-DE68-07ED-4DA7-2136BA0B7F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8335" y="2477502"/>
            <a:ext cx="4980494" cy="3097185"/>
          </a:xfrm>
          <a:prstGeom prst="rect">
            <a:avLst/>
          </a:prstGeom>
        </p:spPr>
      </p:pic>
      <p:pic>
        <p:nvPicPr>
          <p:cNvPr id="22" name="Picture 21" descr="A black screen with a white border&#10;&#10;Description automatically generated">
            <a:extLst>
              <a:ext uri="{FF2B5EF4-FFF2-40B4-BE49-F238E27FC236}">
                <a16:creationId xmlns:a16="http://schemas.microsoft.com/office/drawing/2014/main" id="{4D586650-7668-2CFF-AB07-1DC8096D4F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9294" y="2269538"/>
            <a:ext cx="5392276" cy="3504035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151B34D-98F2-535F-F612-6B3239E6C909}"/>
              </a:ext>
            </a:extLst>
          </p:cNvPr>
          <p:cNvSpPr/>
          <p:nvPr/>
        </p:nvSpPr>
        <p:spPr>
          <a:xfrm>
            <a:off x="7778522" y="9331"/>
            <a:ext cx="4407319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00FD449-B874-9317-F990-3D1E6D1C8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Ship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8FA942-7F1A-AEBA-25C0-C2466F3D978A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  <a:lumOff val="50000"/>
                  </a:srgb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utomated Shipping and Receiving Tracking</a:t>
            </a:r>
          </a:p>
        </p:txBody>
      </p:sp>
      <p:sp>
        <p:nvSpPr>
          <p:cNvPr id="59" name="Subtitle 49">
            <a:extLst>
              <a:ext uri="{FF2B5EF4-FFF2-40B4-BE49-F238E27FC236}">
                <a16:creationId xmlns:a16="http://schemas.microsoft.com/office/drawing/2014/main" id="{D8A110F0-1FDF-36D4-8134-FC6D84A7B4B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984F028-FA77-F393-C255-84484C2C45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6AE26450-87D2-A441-54D2-E928F1FED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CDB844-4C3F-6355-FF21-4801892BEAC6}"/>
              </a:ext>
            </a:extLst>
          </p:cNvPr>
          <p:cNvSpPr txBox="1"/>
          <p:nvPr/>
        </p:nvSpPr>
        <p:spPr>
          <a:xfrm>
            <a:off x="8224694" y="1908595"/>
            <a:ext cx="3535673" cy="289310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rint with Select Shipment by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ick the order to ship</a:t>
            </a:r>
            <a:endParaRPr lang="en-US" sz="1400">
              <a:solidFill>
                <a:srgbClr val="2D2E34"/>
              </a:solidFill>
              <a:latin typeface="Avenir Next LT Pro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Ability to pick the order of different parts and different quantities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Loaded quantity updates as tagged items are read by the rea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"/>
            </a:endParaRPr>
          </a:p>
        </p:txBody>
      </p:sp>
      <p:sp>
        <p:nvSpPr>
          <p:cNvPr id="2" name="Arrow: Right 12">
            <a:extLst>
              <a:ext uri="{FF2B5EF4-FFF2-40B4-BE49-F238E27FC236}">
                <a16:creationId xmlns:a16="http://schemas.microsoft.com/office/drawing/2014/main" id="{B97262C9-7699-9A9E-27C1-3157A79C4E3A}"/>
              </a:ext>
            </a:extLst>
          </p:cNvPr>
          <p:cNvSpPr/>
          <p:nvPr/>
        </p:nvSpPr>
        <p:spPr>
          <a:xfrm rot="10800000">
            <a:off x="5177749" y="3327699"/>
            <a:ext cx="285560" cy="159285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Right 13">
            <a:extLst>
              <a:ext uri="{FF2B5EF4-FFF2-40B4-BE49-F238E27FC236}">
                <a16:creationId xmlns:a16="http://schemas.microsoft.com/office/drawing/2014/main" id="{FA7B67EC-93E2-9C94-9269-030FDECCE899}"/>
              </a:ext>
            </a:extLst>
          </p:cNvPr>
          <p:cNvSpPr/>
          <p:nvPr/>
        </p:nvSpPr>
        <p:spPr>
          <a:xfrm rot="10800000">
            <a:off x="2518885" y="3327699"/>
            <a:ext cx="446924" cy="202602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00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9950F1F-5677-CEDC-3766-3BAE547333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558" y="3006633"/>
            <a:ext cx="3713324" cy="229325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EC56B7D-134E-D228-FBCA-C0FB8EAA8C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0178" y="3006633"/>
            <a:ext cx="3577759" cy="215648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3A1667F-0BAA-953F-6E9C-1A3DA99D28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2987" y="3033379"/>
            <a:ext cx="3518210" cy="2322971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925E1EF-90C6-BF9F-3BA9-416920B941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1788" y="5444107"/>
            <a:ext cx="1308479" cy="609600"/>
          </a:xfrm>
        </p:spPr>
        <p:txBody>
          <a:bodyPr>
            <a:normAutofit fontScale="92500"/>
          </a:bodyPr>
          <a:lstStyle/>
          <a:p>
            <a:pPr algn="l" rtl="0" fontAlgn="base"/>
            <a:r>
              <a:rPr lang="en-US" b="0" i="0" u="none" strike="noStrike" dirty="0">
                <a:solidFill>
                  <a:srgbClr val="FACB00"/>
                </a:solidFill>
                <a:effectLst/>
                <a:latin typeface="+mj-lt"/>
              </a:rPr>
              <a:t>A. RFID Enablement</a:t>
            </a:r>
            <a:br>
              <a:rPr lang="en-US" b="0" i="0" dirty="0">
                <a:solidFill>
                  <a:srgbClr val="000000"/>
                </a:solidFill>
                <a:effectLst/>
                <a:latin typeface="+mj-lt"/>
              </a:rPr>
            </a:br>
            <a:r>
              <a:rPr lang="en-US" sz="1100" dirty="0">
                <a:solidFill>
                  <a:srgbClr val="000000"/>
                </a:solidFill>
              </a:rPr>
              <a:t>E</a:t>
            </a:r>
            <a:r>
              <a:rPr lang="en-US" sz="1100" b="0" i="0" dirty="0">
                <a:solidFill>
                  <a:srgbClr val="000000"/>
                </a:solidFill>
                <a:effectLst/>
              </a:rPr>
              <a:t>ncoding of product post-manufacturing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78A4FCDC-8244-E0FA-6427-C60875899800}"/>
              </a:ext>
            </a:extLst>
          </p:cNvPr>
          <p:cNvSpPr txBox="1">
            <a:spLocks/>
          </p:cNvSpPr>
          <p:nvPr/>
        </p:nvSpPr>
        <p:spPr>
          <a:xfrm>
            <a:off x="1056881" y="1296827"/>
            <a:ext cx="2762643" cy="409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anufacturing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CE6519D8-A37F-C8E1-9EFA-3D2A98941B8A}"/>
              </a:ext>
            </a:extLst>
          </p:cNvPr>
          <p:cNvSpPr txBox="1">
            <a:spLocks/>
          </p:cNvSpPr>
          <p:nvPr/>
        </p:nvSpPr>
        <p:spPr>
          <a:xfrm>
            <a:off x="8239992" y="1296827"/>
            <a:ext cx="4595725" cy="409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etail Stor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BC69E2D3-1EB2-D784-360F-0FE1A1A39479}"/>
              </a:ext>
            </a:extLst>
          </p:cNvPr>
          <p:cNvSpPr txBox="1">
            <a:spLocks/>
          </p:cNvSpPr>
          <p:nvPr/>
        </p:nvSpPr>
        <p:spPr>
          <a:xfrm>
            <a:off x="4378869" y="5432795"/>
            <a:ext cx="1706901" cy="960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. No Touch Receiving Verification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84DFF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utonomous scanning and aggregation of product to DC Inventory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​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79280BBF-2786-B347-B664-529FCFAEC410}"/>
              </a:ext>
            </a:extLst>
          </p:cNvPr>
          <p:cNvSpPr txBox="1">
            <a:spLocks/>
          </p:cNvSpPr>
          <p:nvPr/>
        </p:nvSpPr>
        <p:spPr>
          <a:xfrm>
            <a:off x="4383407" y="1296827"/>
            <a:ext cx="4595725" cy="409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Warehousing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5F69E46D-B4C8-3EFA-0456-349E2BC4A1E3}"/>
              </a:ext>
            </a:extLst>
          </p:cNvPr>
          <p:cNvSpPr txBox="1">
            <a:spLocks/>
          </p:cNvSpPr>
          <p:nvPr/>
        </p:nvSpPr>
        <p:spPr>
          <a:xfrm>
            <a:off x="8267701" y="1966235"/>
            <a:ext cx="1599399" cy="9031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A. Automated Receiving Verification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eceipt and validation of delivery to the stor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C509057-9974-8F7E-6695-420AA401D475}"/>
              </a:ext>
            </a:extLst>
          </p:cNvPr>
          <p:cNvSpPr/>
          <p:nvPr/>
        </p:nvSpPr>
        <p:spPr>
          <a:xfrm>
            <a:off x="5805308" y="4350173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D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71D81D4-1F82-98D9-0728-1F98294B8705}"/>
              </a:ext>
            </a:extLst>
          </p:cNvPr>
          <p:cNvSpPr/>
          <p:nvPr/>
        </p:nvSpPr>
        <p:spPr>
          <a:xfrm>
            <a:off x="6557268" y="3814181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B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110D754-AB52-D300-90FF-7A0D383C3C10}"/>
              </a:ext>
            </a:extLst>
          </p:cNvPr>
          <p:cNvSpPr/>
          <p:nvPr/>
        </p:nvSpPr>
        <p:spPr>
          <a:xfrm>
            <a:off x="5793196" y="3259063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C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A018E26-62CE-C28C-EB29-33143D6A53E9}"/>
              </a:ext>
            </a:extLst>
          </p:cNvPr>
          <p:cNvSpPr/>
          <p:nvPr/>
        </p:nvSpPr>
        <p:spPr>
          <a:xfrm>
            <a:off x="5206059" y="4109456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A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29297A0-3CB5-082F-9F11-1B38AA9FAA88}"/>
              </a:ext>
            </a:extLst>
          </p:cNvPr>
          <p:cNvSpPr/>
          <p:nvPr/>
        </p:nvSpPr>
        <p:spPr>
          <a:xfrm>
            <a:off x="9407279" y="4619462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A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17CE5E7F-6715-F5AE-A7E7-CC55C56B73FF}"/>
              </a:ext>
            </a:extLst>
          </p:cNvPr>
          <p:cNvSpPr/>
          <p:nvPr/>
        </p:nvSpPr>
        <p:spPr>
          <a:xfrm>
            <a:off x="9715735" y="3641322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B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C5682E0-6AB7-24AB-56A8-B467A2D0842B}"/>
              </a:ext>
            </a:extLst>
          </p:cNvPr>
          <p:cNvSpPr/>
          <p:nvPr/>
        </p:nvSpPr>
        <p:spPr>
          <a:xfrm>
            <a:off x="10338039" y="4147709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C</a:t>
            </a: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5127FE10-D417-FD96-BAA1-6A5504C5787E}"/>
              </a:ext>
            </a:extLst>
          </p:cNvPr>
          <p:cNvSpPr txBox="1">
            <a:spLocks/>
          </p:cNvSpPr>
          <p:nvPr/>
        </p:nvSpPr>
        <p:spPr>
          <a:xfrm>
            <a:off x="1058014" y="2018771"/>
            <a:ext cx="2523543" cy="831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C. Shipment Verification Automation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ully automated no-touch DC shipment content verification at the dock door. (No manual scanning)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D66A324-5C9C-9A82-E418-F259D2AA4681}"/>
              </a:ext>
            </a:extLst>
          </p:cNvPr>
          <p:cNvSpPr/>
          <p:nvPr/>
        </p:nvSpPr>
        <p:spPr>
          <a:xfrm>
            <a:off x="2524254" y="3584165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A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B58EA318-C413-F008-369F-E1D69D3D6B5F}"/>
              </a:ext>
            </a:extLst>
          </p:cNvPr>
          <p:cNvSpPr/>
          <p:nvPr/>
        </p:nvSpPr>
        <p:spPr>
          <a:xfrm>
            <a:off x="1436399" y="4253673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C</a:t>
            </a: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42428945-1915-33DD-E835-9C7582FEEDE9}"/>
              </a:ext>
            </a:extLst>
          </p:cNvPr>
          <p:cNvCxnSpPr>
            <a:cxnSpLocks/>
            <a:endCxn id="14" idx="0"/>
          </p:cNvCxnSpPr>
          <p:nvPr/>
        </p:nvCxnSpPr>
        <p:spPr>
          <a:xfrm flipH="1">
            <a:off x="1696028" y="3879440"/>
            <a:ext cx="872777" cy="1564667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9463C1A6-4F58-60BF-0A0A-80C8C4E4365C}"/>
              </a:ext>
            </a:extLst>
          </p:cNvPr>
          <p:cNvCxnSpPr>
            <a:cxnSpLocks/>
            <a:stCxn id="30" idx="0"/>
          </p:cNvCxnSpPr>
          <p:nvPr/>
        </p:nvCxnSpPr>
        <p:spPr>
          <a:xfrm flipH="1" flipV="1">
            <a:off x="1577193" y="3006633"/>
            <a:ext cx="6844" cy="1247040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13">
            <a:extLst>
              <a:ext uri="{FF2B5EF4-FFF2-40B4-BE49-F238E27FC236}">
                <a16:creationId xmlns:a16="http://schemas.microsoft.com/office/drawing/2014/main" id="{8CADD90A-9B69-D180-08D6-5467EACFCBF8}"/>
              </a:ext>
            </a:extLst>
          </p:cNvPr>
          <p:cNvSpPr txBox="1">
            <a:spLocks/>
          </p:cNvSpPr>
          <p:nvPr/>
        </p:nvSpPr>
        <p:spPr>
          <a:xfrm>
            <a:off x="6297449" y="1987218"/>
            <a:ext cx="1673904" cy="868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B. Cycle Counting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ull warehouse automated cycle counting &amp; Inventory visibility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​ in minutes instead of weeks</a:t>
            </a:r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E8CABB1F-2282-8E4F-BFF2-823ABC372F8D}"/>
              </a:ext>
            </a:extLst>
          </p:cNvPr>
          <p:cNvSpPr txBox="1">
            <a:spLocks/>
          </p:cNvSpPr>
          <p:nvPr/>
        </p:nvSpPr>
        <p:spPr>
          <a:xfrm>
            <a:off x="9702554" y="5432795"/>
            <a:ext cx="1433759" cy="14668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B. Cycle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Counting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84DFF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utomated counting of on-hand inventory to the store in minute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9" name="Text Placeholder 13">
            <a:extLst>
              <a:ext uri="{FF2B5EF4-FFF2-40B4-BE49-F238E27FC236}">
                <a16:creationId xmlns:a16="http://schemas.microsoft.com/office/drawing/2014/main" id="{5D9F4946-91D8-DE8C-1E16-F3FBB4154D7D}"/>
              </a:ext>
            </a:extLst>
          </p:cNvPr>
          <p:cNvSpPr txBox="1">
            <a:spLocks/>
          </p:cNvSpPr>
          <p:nvPr/>
        </p:nvSpPr>
        <p:spPr>
          <a:xfrm>
            <a:off x="4390505" y="1981038"/>
            <a:ext cx="1357815" cy="29336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C. Pallet Verification​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Verify pick accuracy and aggregation of the palle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​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0" name="Text Placeholder 13">
            <a:extLst>
              <a:ext uri="{FF2B5EF4-FFF2-40B4-BE49-F238E27FC236}">
                <a16:creationId xmlns:a16="http://schemas.microsoft.com/office/drawing/2014/main" id="{2F01A81B-215C-BA08-DCF3-F3EE1E66DEEB}"/>
              </a:ext>
            </a:extLst>
          </p:cNvPr>
          <p:cNvSpPr txBox="1">
            <a:spLocks/>
          </p:cNvSpPr>
          <p:nvPr/>
        </p:nvSpPr>
        <p:spPr>
          <a:xfrm>
            <a:off x="6297449" y="5432795"/>
            <a:ext cx="2729418" cy="11933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D. Shipment Verification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utomation​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Verify the pallet is on the proper shipment to the correct store and it’s content without scanning individual case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61" name="Text Placeholder 13">
            <a:extLst>
              <a:ext uri="{FF2B5EF4-FFF2-40B4-BE49-F238E27FC236}">
                <a16:creationId xmlns:a16="http://schemas.microsoft.com/office/drawing/2014/main" id="{1219F7AF-AB8E-303C-0E2C-962198150822}"/>
              </a:ext>
            </a:extLst>
          </p:cNvPr>
          <p:cNvSpPr txBox="1">
            <a:spLocks/>
          </p:cNvSpPr>
          <p:nvPr/>
        </p:nvSpPr>
        <p:spPr>
          <a:xfrm>
            <a:off x="10081363" y="1981038"/>
            <a:ext cx="986112" cy="6273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C. Point of Sale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utomated checkout at PO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90F313AB-E6DA-0735-401D-474B343AB49C}"/>
              </a:ext>
            </a:extLst>
          </p:cNvPr>
          <p:cNvCxnSpPr>
            <a:stCxn id="36" idx="1"/>
          </p:cNvCxnSpPr>
          <p:nvPr/>
        </p:nvCxnSpPr>
        <p:spPr>
          <a:xfrm flipH="1" flipV="1">
            <a:off x="5401697" y="2855452"/>
            <a:ext cx="434741" cy="446853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1377C7F2-492C-03D8-93C9-7155A00C145A}"/>
              </a:ext>
            </a:extLst>
          </p:cNvPr>
          <p:cNvCxnSpPr>
            <a:cxnSpLocks/>
          </p:cNvCxnSpPr>
          <p:nvPr/>
        </p:nvCxnSpPr>
        <p:spPr>
          <a:xfrm flipV="1">
            <a:off x="6695381" y="3006633"/>
            <a:ext cx="0" cy="807548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AA6552DE-DC5E-2251-785F-6C4822DC2B73}"/>
              </a:ext>
            </a:extLst>
          </p:cNvPr>
          <p:cNvCxnSpPr>
            <a:cxnSpLocks/>
          </p:cNvCxnSpPr>
          <p:nvPr/>
        </p:nvCxnSpPr>
        <p:spPr>
          <a:xfrm>
            <a:off x="5362082" y="4389747"/>
            <a:ext cx="12649" cy="921005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8956F98F-71DC-D2FB-8295-2BA89D5973A3}"/>
              </a:ext>
            </a:extLst>
          </p:cNvPr>
          <p:cNvCxnSpPr>
            <a:cxnSpLocks/>
            <a:stCxn id="34" idx="5"/>
          </p:cNvCxnSpPr>
          <p:nvPr/>
        </p:nvCxnSpPr>
        <p:spPr>
          <a:xfrm>
            <a:off x="6057341" y="4602206"/>
            <a:ext cx="460803" cy="708546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F80EDB8A-E5EE-59E5-6DB3-AA89D004F9A3}"/>
              </a:ext>
            </a:extLst>
          </p:cNvPr>
          <p:cNvCxnSpPr>
            <a:cxnSpLocks/>
          </p:cNvCxnSpPr>
          <p:nvPr/>
        </p:nvCxnSpPr>
        <p:spPr>
          <a:xfrm>
            <a:off x="9868450" y="3913674"/>
            <a:ext cx="0" cy="1446917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459F0EDC-17DB-CD93-FA74-F80F2386D88E}"/>
              </a:ext>
            </a:extLst>
          </p:cNvPr>
          <p:cNvCxnSpPr>
            <a:cxnSpLocks/>
          </p:cNvCxnSpPr>
          <p:nvPr/>
        </p:nvCxnSpPr>
        <p:spPr>
          <a:xfrm flipH="1" flipV="1">
            <a:off x="10453206" y="2952645"/>
            <a:ext cx="22946" cy="1195064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7E34DFDB-367A-F7D1-4E54-B4C147ADCD86}"/>
              </a:ext>
            </a:extLst>
          </p:cNvPr>
          <p:cNvCxnSpPr>
            <a:cxnSpLocks/>
            <a:stCxn id="40" idx="0"/>
            <a:endCxn id="27" idx="2"/>
          </p:cNvCxnSpPr>
          <p:nvPr/>
        </p:nvCxnSpPr>
        <p:spPr>
          <a:xfrm flipH="1" flipV="1">
            <a:off x="9067401" y="2869338"/>
            <a:ext cx="487516" cy="1750124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4C3124C1-384E-85A5-41D0-3C6E840C5D55}"/>
              </a:ext>
            </a:extLst>
          </p:cNvPr>
          <p:cNvCxnSpPr>
            <a:cxnSpLocks/>
          </p:cNvCxnSpPr>
          <p:nvPr/>
        </p:nvCxnSpPr>
        <p:spPr>
          <a:xfrm>
            <a:off x="1055687" y="1802193"/>
            <a:ext cx="2763837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1DE53D5-6E22-575C-1E61-2B6592CBB2FF}"/>
              </a:ext>
            </a:extLst>
          </p:cNvPr>
          <p:cNvCxnSpPr>
            <a:cxnSpLocks/>
          </p:cNvCxnSpPr>
          <p:nvPr/>
        </p:nvCxnSpPr>
        <p:spPr>
          <a:xfrm>
            <a:off x="4390505" y="1802193"/>
            <a:ext cx="2763837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42EA8C96-2E2B-ACAC-137A-7FCD27323CEE}"/>
              </a:ext>
            </a:extLst>
          </p:cNvPr>
          <p:cNvCxnSpPr>
            <a:cxnSpLocks/>
          </p:cNvCxnSpPr>
          <p:nvPr/>
        </p:nvCxnSpPr>
        <p:spPr>
          <a:xfrm>
            <a:off x="8267701" y="1802193"/>
            <a:ext cx="2763837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3A022171-B4C3-0EE5-0B3F-825D85402615}"/>
              </a:ext>
            </a:extLst>
          </p:cNvPr>
          <p:cNvSpPr/>
          <p:nvPr/>
        </p:nvSpPr>
        <p:spPr>
          <a:xfrm>
            <a:off x="2577112" y="4008399"/>
            <a:ext cx="295275" cy="29527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ACB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B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75F23DA-89CC-868C-8333-A7F013302357}"/>
              </a:ext>
            </a:extLst>
          </p:cNvPr>
          <p:cNvCxnSpPr>
            <a:cxnSpLocks/>
            <a:stCxn id="7" idx="4"/>
          </p:cNvCxnSpPr>
          <p:nvPr/>
        </p:nvCxnSpPr>
        <p:spPr>
          <a:xfrm>
            <a:off x="2724750" y="4303674"/>
            <a:ext cx="0" cy="996210"/>
          </a:xfrm>
          <a:prstGeom prst="straightConnector1">
            <a:avLst/>
          </a:prstGeom>
          <a:ln>
            <a:solidFill>
              <a:srgbClr val="FAC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487BA199-FF3B-ACEF-4927-3928AFEB4663}"/>
              </a:ext>
            </a:extLst>
          </p:cNvPr>
          <p:cNvSpPr txBox="1">
            <a:spLocks/>
          </p:cNvSpPr>
          <p:nvPr/>
        </p:nvSpPr>
        <p:spPr>
          <a:xfrm>
            <a:off x="2388927" y="5432795"/>
            <a:ext cx="1644756" cy="831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88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B. Case Content Verification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se content verification on an assembly line without opening I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EACBF23-4B8F-7FA6-08D2-9CD183D49B4C}"/>
              </a:ext>
            </a:extLst>
          </p:cNvPr>
          <p:cNvSpPr/>
          <p:nvPr/>
        </p:nvSpPr>
        <p:spPr>
          <a:xfrm>
            <a:off x="11408568" y="6397083"/>
            <a:ext cx="457201" cy="183755"/>
          </a:xfrm>
          <a:prstGeom prst="rect">
            <a:avLst/>
          </a:prstGeom>
          <a:noFill/>
          <a:ln w="6350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Verdana" panose="020B0604030504040204" pitchFamily="34" charset="0"/>
                <a:cs typeface="Arial" panose="020B0604020202020204" pitchFamily="34" charset="0"/>
              </a:rPr>
              <a:t>‒ </a:t>
            </a:r>
            <a:fld id="{614C2AB7-8B7E-4D21-B69D-DAA330410392}" type="slidenum">
              <a:rPr kumimoji="0" lang="en-US" sz="1050" b="0" i="0" u="none" strike="noStrike" kern="1200" cap="none" spc="-29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50" b="0" i="0" u="none" strike="noStrike" kern="1200" cap="none" spc="-29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770E87DA-1160-8E71-27C7-19EAC44D7F22}"/>
              </a:ext>
            </a:extLst>
          </p:cNvPr>
          <p:cNvSpPr txBox="1">
            <a:spLocks/>
          </p:cNvSpPr>
          <p:nvPr/>
        </p:nvSpPr>
        <p:spPr>
          <a:xfrm>
            <a:off x="1051313" y="296770"/>
            <a:ext cx="7937344" cy="49941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 Solutions </a:t>
            </a:r>
            <a:r>
              <a:rPr kumimoji="0" lang="pt-BR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roughout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r>
              <a:rPr kumimoji="0" lang="pt-BR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</a:t>
            </a:r>
            <a:r>
              <a:rPr kumimoji="0" lang="pt-BR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alue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Chain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F790CCC-0609-D871-B40C-293BA2C41277}"/>
              </a:ext>
            </a:extLst>
          </p:cNvPr>
          <p:cNvCxnSpPr>
            <a:cxnSpLocks/>
          </p:cNvCxnSpPr>
          <p:nvPr/>
        </p:nvCxnSpPr>
        <p:spPr>
          <a:xfrm>
            <a:off x="1055688" y="981075"/>
            <a:ext cx="10080625" cy="0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9E99354-00DB-CB55-3B5C-604AB8BF357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9315" y="318729"/>
            <a:ext cx="691496" cy="48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1354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0128132-DE68-07ED-4DA7-2136BA0B7F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8335" y="2484227"/>
            <a:ext cx="4980494" cy="3091980"/>
          </a:xfrm>
          <a:prstGeom prst="rect">
            <a:avLst/>
          </a:prstGeom>
        </p:spPr>
      </p:pic>
      <p:pic>
        <p:nvPicPr>
          <p:cNvPr id="22" name="Picture 21" descr="A black screen with a white border&#10;&#10;Description automatically generated">
            <a:extLst>
              <a:ext uri="{FF2B5EF4-FFF2-40B4-BE49-F238E27FC236}">
                <a16:creationId xmlns:a16="http://schemas.microsoft.com/office/drawing/2014/main" id="{4D586650-7668-2CFF-AB07-1DC8096D4F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9294" y="2269538"/>
            <a:ext cx="5392276" cy="3504035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151B34D-98F2-535F-F612-6B3239E6C909}"/>
              </a:ext>
            </a:extLst>
          </p:cNvPr>
          <p:cNvSpPr/>
          <p:nvPr/>
        </p:nvSpPr>
        <p:spPr>
          <a:xfrm>
            <a:off x="7778522" y="9331"/>
            <a:ext cx="4407319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00FD449-B874-9317-F990-3D1E6D1C8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Ship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8FA942-7F1A-AEBA-25C0-C2466F3D978A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  <a:lumOff val="50000"/>
                  </a:srgb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utomated Shipping and Receiving Tracking</a:t>
            </a:r>
          </a:p>
        </p:txBody>
      </p:sp>
      <p:sp>
        <p:nvSpPr>
          <p:cNvPr id="59" name="Subtitle 49">
            <a:extLst>
              <a:ext uri="{FF2B5EF4-FFF2-40B4-BE49-F238E27FC236}">
                <a16:creationId xmlns:a16="http://schemas.microsoft.com/office/drawing/2014/main" id="{D8A110F0-1FDF-36D4-8134-FC6D84A7B4B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984F028-FA77-F393-C255-84484C2C45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6AE26450-87D2-A441-54D2-E928F1FED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CDB844-4C3F-6355-FF21-4801892BEAC6}"/>
              </a:ext>
            </a:extLst>
          </p:cNvPr>
          <p:cNvSpPr txBox="1"/>
          <p:nvPr/>
        </p:nvSpPr>
        <p:spPr>
          <a:xfrm>
            <a:off x="8224694" y="1908595"/>
            <a:ext cx="3535673" cy="35394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rint with Select Shipment by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ick the order to ship</a:t>
            </a:r>
            <a:endParaRPr lang="en-US" sz="1400">
              <a:solidFill>
                <a:srgbClr val="2D2E34"/>
              </a:solidFill>
              <a:latin typeface="Avenir Next LT Pro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Ability to pick the order of different parts and different quantities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Loaded quantity updates as tagged items are read by the rea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Checkbox appears when an item reaches the exceeded limit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"/>
            </a:endParaRPr>
          </a:p>
        </p:txBody>
      </p:sp>
      <p:sp>
        <p:nvSpPr>
          <p:cNvPr id="4" name="Arrow: Right 12">
            <a:extLst>
              <a:ext uri="{FF2B5EF4-FFF2-40B4-BE49-F238E27FC236}">
                <a16:creationId xmlns:a16="http://schemas.microsoft.com/office/drawing/2014/main" id="{A4D22AA9-CF77-F117-2E2C-B7EF79C920FC}"/>
              </a:ext>
            </a:extLst>
          </p:cNvPr>
          <p:cNvSpPr/>
          <p:nvPr/>
        </p:nvSpPr>
        <p:spPr>
          <a:xfrm>
            <a:off x="3941109" y="3735381"/>
            <a:ext cx="285560" cy="159285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143FEB0F-3691-C752-0785-B803BA7EA0CD}"/>
              </a:ext>
            </a:extLst>
          </p:cNvPr>
          <p:cNvSpPr/>
          <p:nvPr/>
        </p:nvSpPr>
        <p:spPr>
          <a:xfrm>
            <a:off x="3941109" y="3247654"/>
            <a:ext cx="285560" cy="159285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6391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black screen with a white border&#10;&#10;Description automatically generated">
            <a:extLst>
              <a:ext uri="{FF2B5EF4-FFF2-40B4-BE49-F238E27FC236}">
                <a16:creationId xmlns:a16="http://schemas.microsoft.com/office/drawing/2014/main" id="{4D586650-7668-2CFF-AB07-1DC8096D4F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9294" y="2269538"/>
            <a:ext cx="5392276" cy="350403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0128132-DE68-07ED-4DA7-2136BA0B7F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6515" y="2482850"/>
            <a:ext cx="4983896" cy="3093357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151B34D-98F2-535F-F612-6B3239E6C909}"/>
              </a:ext>
            </a:extLst>
          </p:cNvPr>
          <p:cNvSpPr/>
          <p:nvPr/>
        </p:nvSpPr>
        <p:spPr>
          <a:xfrm>
            <a:off x="7778522" y="9331"/>
            <a:ext cx="4407319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00FD449-B874-9317-F990-3D1E6D1C8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Ship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8FA942-7F1A-AEBA-25C0-C2466F3D978A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  <a:lumOff val="50000"/>
                  </a:srgb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utomated Shipping and Receiving Tracking</a:t>
            </a:r>
          </a:p>
        </p:txBody>
      </p:sp>
      <p:sp>
        <p:nvSpPr>
          <p:cNvPr id="59" name="Subtitle 49">
            <a:extLst>
              <a:ext uri="{FF2B5EF4-FFF2-40B4-BE49-F238E27FC236}">
                <a16:creationId xmlns:a16="http://schemas.microsoft.com/office/drawing/2014/main" id="{D8A110F0-1FDF-36D4-8134-FC6D84A7B4B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984F028-FA77-F393-C255-84484C2C45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6AE26450-87D2-A441-54D2-E928F1FED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CDB844-4C3F-6355-FF21-4801892BEAC6}"/>
              </a:ext>
            </a:extLst>
          </p:cNvPr>
          <p:cNvSpPr txBox="1"/>
          <p:nvPr/>
        </p:nvSpPr>
        <p:spPr>
          <a:xfrm>
            <a:off x="8224694" y="1908595"/>
            <a:ext cx="3535673" cy="440120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rint with Select Shipment by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ick the order to ship</a:t>
            </a:r>
            <a:endParaRPr lang="en-US" sz="1400">
              <a:solidFill>
                <a:srgbClr val="2D2E34"/>
              </a:solidFill>
              <a:latin typeface="Avenir Next LT Pro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Ability to pick the order of different parts and different quantities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Loaded quantity updates as tagged items are read by the rea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Checkbox appears when an item reaches the exceeded limit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A red light and audible sensor turns on when an item is read that doesn’t belong to the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"/>
            </a:endParaRPr>
          </a:p>
        </p:txBody>
      </p:sp>
    </p:spTree>
    <p:extLst>
      <p:ext uri="{BB962C8B-B14F-4D97-AF65-F5344CB8AC3E}">
        <p14:creationId xmlns:p14="http://schemas.microsoft.com/office/powerpoint/2010/main" val="4594473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0128132-DE68-07ED-4DA7-2136BA0B7F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7548" y="2471459"/>
            <a:ext cx="4956519" cy="3104748"/>
          </a:xfrm>
          <a:prstGeom prst="rect">
            <a:avLst/>
          </a:prstGeom>
        </p:spPr>
      </p:pic>
      <p:pic>
        <p:nvPicPr>
          <p:cNvPr id="22" name="Picture 21" descr="A black screen with a white border&#10;&#10;Description automatically generated">
            <a:extLst>
              <a:ext uri="{FF2B5EF4-FFF2-40B4-BE49-F238E27FC236}">
                <a16:creationId xmlns:a16="http://schemas.microsoft.com/office/drawing/2014/main" id="{4D586650-7668-2CFF-AB07-1DC8096D4F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9294" y="2269538"/>
            <a:ext cx="5392276" cy="3504035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151B34D-98F2-535F-F612-6B3239E6C909}"/>
              </a:ext>
            </a:extLst>
          </p:cNvPr>
          <p:cNvSpPr/>
          <p:nvPr/>
        </p:nvSpPr>
        <p:spPr>
          <a:xfrm>
            <a:off x="7778522" y="9331"/>
            <a:ext cx="4407319" cy="68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E00FD449-B874-9317-F990-3D1E6D1C8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55" y="468199"/>
            <a:ext cx="9056157" cy="498598"/>
          </a:xfrm>
        </p:spPr>
        <p:txBody>
          <a:bodyPr vert="horz"/>
          <a:lstStyle/>
          <a:p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Shipment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Verification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endParaRPr lang="en-GB">
              <a:solidFill>
                <a:schemeClr val="tx2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8FA942-7F1A-AEBA-25C0-C2466F3D978A}"/>
              </a:ext>
            </a:extLst>
          </p:cNvPr>
          <p:cNvSpPr txBox="1"/>
          <p:nvPr/>
        </p:nvSpPr>
        <p:spPr>
          <a:xfrm>
            <a:off x="389255" y="1234592"/>
            <a:ext cx="638165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  <a:lumOff val="50000"/>
                  </a:srgb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Automated Shipping and Receiving Tracking</a:t>
            </a:r>
          </a:p>
        </p:txBody>
      </p:sp>
      <p:sp>
        <p:nvSpPr>
          <p:cNvPr id="59" name="Subtitle 49">
            <a:extLst>
              <a:ext uri="{FF2B5EF4-FFF2-40B4-BE49-F238E27FC236}">
                <a16:creationId xmlns:a16="http://schemas.microsoft.com/office/drawing/2014/main" id="{D8A110F0-1FDF-36D4-8134-FC6D84A7B4B4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C984F028-FA77-F393-C255-84484C2C451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07" y="6297224"/>
            <a:ext cx="691496" cy="483376"/>
          </a:xfrm>
          <a:prstGeom prst="rect">
            <a:avLst/>
          </a:prstGeom>
        </p:spPr>
      </p:pic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6AE26450-87D2-A441-54D2-E928F1FED6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7015" y="6356350"/>
            <a:ext cx="44670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CDB844-4C3F-6355-FF21-4801892BEAC6}"/>
              </a:ext>
            </a:extLst>
          </p:cNvPr>
          <p:cNvSpPr txBox="1"/>
          <p:nvPr/>
        </p:nvSpPr>
        <p:spPr>
          <a:xfrm>
            <a:off x="8224694" y="1908595"/>
            <a:ext cx="3535673" cy="569386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rint with Select Shipment by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 b="0" i="0" u="none" strike="noStrike" kern="1200" cap="none" spc="0" normalizeH="0" baseline="0" noProof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Pick the order to ship</a:t>
            </a:r>
            <a:endParaRPr lang="en-US" sz="1400">
              <a:solidFill>
                <a:srgbClr val="2D2E34"/>
              </a:solidFill>
              <a:latin typeface="Avenir Next LT Pro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Ability to pick the order of different parts and different quantities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Loaded quantity updates as tagged items are read by the rea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Checkbox appears when an item reaches the exceeded limit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A red light and audible sensor turns on when an item is read that doesn’t belong to the order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400">
                <a:solidFill>
                  <a:srgbClr val="2D2E34"/>
                </a:solidFill>
                <a:latin typeface="Avenir Next LT Pro Demi"/>
              </a:rPr>
              <a:t>User can remove the incorrect item by selecting it and clicking “X” button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 Demi"/>
            </a:endParaRPr>
          </a:p>
          <a:p>
            <a:pPr marL="342900" indent="-342900">
              <a:buFont typeface="+mj-lt"/>
              <a:buAutoNum type="arabicPeriod"/>
              <a:defRPr/>
            </a:pPr>
            <a:endParaRPr lang="en-US" sz="1400">
              <a:solidFill>
                <a:srgbClr val="2D2E34"/>
              </a:solidFill>
              <a:latin typeface="Avenir Next LT Pro"/>
            </a:endParaRPr>
          </a:p>
        </p:txBody>
      </p:sp>
      <p:sp>
        <p:nvSpPr>
          <p:cNvPr id="2" name="Arrow: Right 12">
            <a:extLst>
              <a:ext uri="{FF2B5EF4-FFF2-40B4-BE49-F238E27FC236}">
                <a16:creationId xmlns:a16="http://schemas.microsoft.com/office/drawing/2014/main" id="{3364C7AD-16F5-46B7-931D-50E6A78260F3}"/>
              </a:ext>
            </a:extLst>
          </p:cNvPr>
          <p:cNvSpPr/>
          <p:nvPr/>
        </p:nvSpPr>
        <p:spPr>
          <a:xfrm rot="5400000">
            <a:off x="1910875" y="4533106"/>
            <a:ext cx="285560" cy="159285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rrow: Right 4">
            <a:extLst>
              <a:ext uri="{FF2B5EF4-FFF2-40B4-BE49-F238E27FC236}">
                <a16:creationId xmlns:a16="http://schemas.microsoft.com/office/drawing/2014/main" id="{FFE43D14-A7BF-33CE-1229-BA0510DFCB64}"/>
              </a:ext>
            </a:extLst>
          </p:cNvPr>
          <p:cNvSpPr/>
          <p:nvPr/>
        </p:nvSpPr>
        <p:spPr>
          <a:xfrm>
            <a:off x="3941109" y="3616905"/>
            <a:ext cx="285560" cy="159285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646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214003D-5C28-3258-B299-3B774AD8DC1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714"/>
          <a:stretch/>
        </p:blipFill>
        <p:spPr>
          <a:xfrm>
            <a:off x="-2366420" y="-411507"/>
            <a:ext cx="8735143" cy="8496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3FF89CF-CD63-D155-A687-437E2D7820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24334" y="4814644"/>
            <a:ext cx="2153265" cy="155434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C34F0E6-B965-F6B3-69DB-812060D7AD28}"/>
              </a:ext>
            </a:extLst>
          </p:cNvPr>
          <p:cNvSpPr txBox="1"/>
          <p:nvPr/>
        </p:nvSpPr>
        <p:spPr>
          <a:xfrm>
            <a:off x="6273828" y="1482500"/>
            <a:ext cx="27463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Automate with Accura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ices boast patented antenna technology for top-performing RFID reads, ensuring industry-leading capture accuracy with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 Manag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perating system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C71C28-B456-6670-8D11-E786B1105CA8}"/>
              </a:ext>
            </a:extLst>
          </p:cNvPr>
          <p:cNvSpPr txBox="1"/>
          <p:nvPr/>
        </p:nvSpPr>
        <p:spPr>
          <a:xfrm>
            <a:off x="6273827" y="3127217"/>
            <a:ext cx="274634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Unlock and Act on Supply Chain Insigh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-powered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 View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provides actionable insights for operators and managers. Integrates with any WMS/ERP and other visibility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ftwar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734E27D-4996-022D-5E37-3617D3B4E65C}"/>
              </a:ext>
            </a:extLst>
          </p:cNvPr>
          <p:cNvSpPr txBox="1"/>
          <p:nvPr/>
        </p:nvSpPr>
        <p:spPr>
          <a:xfrm>
            <a:off x="6273827" y="4964442"/>
            <a:ext cx="2746347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Maximize Consistency and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Proprietary, purpose-built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LS Tag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 designed specifically for SLS Solutions that outperform industry-standard tags to realize optimal performan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1AE0CB22-58E3-8C2C-708D-6A49A4B5D9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12884" y="1270065"/>
            <a:ext cx="1823429" cy="1320415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08D5A991-94FF-76CF-F6C4-D93BC0126F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97564" y="3220940"/>
            <a:ext cx="1643497" cy="123110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B913B8F-C475-808C-DBFD-4ED6E2A26578}"/>
              </a:ext>
            </a:extLst>
          </p:cNvPr>
          <p:cNvSpPr txBox="1"/>
          <p:nvPr/>
        </p:nvSpPr>
        <p:spPr>
          <a:xfrm>
            <a:off x="1143388" y="3535985"/>
            <a:ext cx="17972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SLS Man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Devices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366D20F-552F-A35B-3B27-72EF8BD1615E}"/>
              </a:ext>
            </a:extLst>
          </p:cNvPr>
          <p:cNvSpPr/>
          <p:nvPr/>
        </p:nvSpPr>
        <p:spPr>
          <a:xfrm>
            <a:off x="9736241" y="5148776"/>
            <a:ext cx="617128" cy="617128"/>
          </a:xfrm>
          <a:prstGeom prst="ellipse">
            <a:avLst/>
          </a:prstGeom>
          <a:noFill/>
          <a:ln w="19050">
            <a:solidFill>
              <a:srgbClr val="774D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943CEB-DC5C-8F0F-0786-180F7AA07E3E}"/>
              </a:ext>
            </a:extLst>
          </p:cNvPr>
          <p:cNvSpPr txBox="1"/>
          <p:nvPr/>
        </p:nvSpPr>
        <p:spPr>
          <a:xfrm>
            <a:off x="3154928" y="3984855"/>
            <a:ext cx="13635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I-Powered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SLS 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99DE1B-B8CB-7609-9341-CCAFCBC5BB34}"/>
              </a:ext>
            </a:extLst>
          </p:cNvPr>
          <p:cNvSpPr txBox="1"/>
          <p:nvPr/>
        </p:nvSpPr>
        <p:spPr>
          <a:xfrm>
            <a:off x="4561130" y="4172189"/>
            <a:ext cx="9774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SLS Tag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BF6F75-8A6F-EFB2-67EE-6F3A614C44F0}"/>
              </a:ext>
            </a:extLst>
          </p:cNvPr>
          <p:cNvSpPr txBox="1"/>
          <p:nvPr/>
        </p:nvSpPr>
        <p:spPr>
          <a:xfrm>
            <a:off x="3122609" y="4727366"/>
            <a:ext cx="921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ND / O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DCE0453-B297-9303-7872-2168CCBBB01C}"/>
              </a:ext>
            </a:extLst>
          </p:cNvPr>
          <p:cNvSpPr txBox="1"/>
          <p:nvPr/>
        </p:nvSpPr>
        <p:spPr>
          <a:xfrm>
            <a:off x="2001151" y="5155779"/>
            <a:ext cx="18867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3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d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par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WES / WC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A0DE5D-02F3-DD00-DEA2-C14B4CE12743}"/>
              </a:ext>
            </a:extLst>
          </p:cNvPr>
          <p:cNvSpPr txBox="1"/>
          <p:nvPr/>
        </p:nvSpPr>
        <p:spPr>
          <a:xfrm>
            <a:off x="3728039" y="5137205"/>
            <a:ext cx="18867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3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d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par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Tag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C4470D5-3E4B-28B7-3BF2-9F38CE57624C}"/>
              </a:ext>
            </a:extLst>
          </p:cNvPr>
          <p:cNvSpPr txBox="1"/>
          <p:nvPr/>
        </p:nvSpPr>
        <p:spPr>
          <a:xfrm>
            <a:off x="4500414" y="4727366"/>
            <a:ext cx="9216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ND / O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AA069B-3402-7680-611C-743CB87A1739}"/>
              </a:ext>
            </a:extLst>
          </p:cNvPr>
          <p:cNvSpPr/>
          <p:nvPr/>
        </p:nvSpPr>
        <p:spPr>
          <a:xfrm>
            <a:off x="-78658" y="-75653"/>
            <a:ext cx="12359148" cy="105672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BC2BCF1-097B-0C7D-20F3-8608B2B43E0A}"/>
              </a:ext>
            </a:extLst>
          </p:cNvPr>
          <p:cNvCxnSpPr>
            <a:cxnSpLocks/>
          </p:cNvCxnSpPr>
          <p:nvPr/>
        </p:nvCxnSpPr>
        <p:spPr>
          <a:xfrm>
            <a:off x="1055688" y="981075"/>
            <a:ext cx="10080625" cy="0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778F8307-FE64-1117-5A42-7CB0C9A5F665}"/>
              </a:ext>
            </a:extLst>
          </p:cNvPr>
          <p:cNvSpPr txBox="1">
            <a:spLocks/>
          </p:cNvSpPr>
          <p:nvPr/>
        </p:nvSpPr>
        <p:spPr>
          <a:xfrm>
            <a:off x="1055687" y="296770"/>
            <a:ext cx="7353300" cy="49941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ACB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upply Chain Visibility </a:t>
            </a:r>
            <a:r>
              <a:rPr kumimoji="0" lang="pt-BR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olution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D2E34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70D2DA9-6861-0DAA-C454-E164BA05057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9315" y="318729"/>
            <a:ext cx="691496" cy="48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248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67B3751-F07E-4A3A-1766-4FFE77BD22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2949" y="0"/>
            <a:ext cx="6095847" cy="6922729"/>
          </a:xfrm>
          <a:prstGeom prst="rect">
            <a:avLst/>
          </a:prstGeom>
        </p:spPr>
      </p:pic>
      <p:sp>
        <p:nvSpPr>
          <p:cNvPr id="8" name="Text Placeholder 22">
            <a:extLst>
              <a:ext uri="{FF2B5EF4-FFF2-40B4-BE49-F238E27FC236}">
                <a16:creationId xmlns:a16="http://schemas.microsoft.com/office/drawing/2014/main" id="{CD83402E-AC34-8577-FA9E-4D5FBF0D8E0D}"/>
              </a:ext>
            </a:extLst>
          </p:cNvPr>
          <p:cNvSpPr txBox="1">
            <a:spLocks/>
          </p:cNvSpPr>
          <p:nvPr/>
        </p:nvSpPr>
        <p:spPr>
          <a:xfrm>
            <a:off x="959622" y="5229553"/>
            <a:ext cx="3930703" cy="1126797"/>
          </a:xfrm>
          <a:prstGeom prst="roundRect">
            <a:avLst>
              <a:gd name="adj" fmla="val 5520"/>
            </a:avLst>
          </a:prstGeom>
          <a:solidFill>
            <a:srgbClr val="FFCB00"/>
          </a:solidFill>
        </p:spPr>
        <p:txBody>
          <a:bodyPr vert="horz" lIns="180000" tIns="180000" rIns="180000" bIns="180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Cloud-based software that integrates into your </a:t>
            </a:r>
            <a:r>
              <a:rPr lang="en-US" sz="1600">
                <a:solidFill>
                  <a:srgbClr val="2D2E34"/>
                </a:solidFill>
                <a:latin typeface="Avenir Next LT Pro Demi" panose="020B0704020202020204" pitchFamily="34" charset="0"/>
              </a:rPr>
              <a:t>ERP/WM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 for improved management and reportin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E697985-10D0-71BD-5759-5DE79D6977E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BE3722C8-2FD6-080D-85E8-DDA582EC56C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2898"/>
          <a:stretch/>
        </p:blipFill>
        <p:spPr>
          <a:xfrm>
            <a:off x="6877344" y="1182846"/>
            <a:ext cx="5298472" cy="55245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B9A61772-61AE-E6A6-CF87-2363D07E7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9970" y="1920132"/>
            <a:ext cx="4246261" cy="498598"/>
          </a:xfrm>
        </p:spPr>
        <p:txBody>
          <a:bodyPr vert="horz"/>
          <a:lstStyle/>
          <a:p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SLSVIEW</a:t>
            </a: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software</a:t>
            </a:r>
            <a:endParaRPr lang="en-US">
              <a:solidFill>
                <a:srgbClr val="FFCB00"/>
              </a:solidFill>
            </a:endParaRP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F1EBF441-8847-E282-FCC7-5BA71F6DA487}"/>
              </a:ext>
            </a:extLst>
          </p:cNvPr>
          <p:cNvSpPr txBox="1">
            <a:spLocks/>
          </p:cNvSpPr>
          <p:nvPr/>
        </p:nvSpPr>
        <p:spPr>
          <a:xfrm>
            <a:off x="7312895" y="2419573"/>
            <a:ext cx="4363168" cy="156144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D2E34">
                    <a:lumMod val="50000"/>
                    <a:lumOff val="50000"/>
                  </a:srgbClr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Industry Leading Software to </a:t>
            </a:r>
            <a:r>
              <a:rPr lang="en-US" sz="2000">
                <a:solidFill>
                  <a:srgbClr val="2D2E34">
                    <a:lumMod val="50000"/>
                    <a:lumOff val="50000"/>
                  </a:srgbClr>
                </a:solidFill>
                <a:latin typeface="Avenir Next LT Pro Demi" panose="020B0704020202020204" pitchFamily="34" charset="0"/>
              </a:rPr>
              <a:t>Unlock Actionable Insights Throughout Your Supply Chai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D2E34">
                  <a:lumMod val="50000"/>
                  <a:lumOff val="50000"/>
                </a:srgbClr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DE849C9-C6C6-0537-33FC-7ACE10FC3A76}"/>
              </a:ext>
            </a:extLst>
          </p:cNvPr>
          <p:cNvSpPr/>
          <p:nvPr/>
        </p:nvSpPr>
        <p:spPr>
          <a:xfrm>
            <a:off x="7312894" y="1156174"/>
            <a:ext cx="780878" cy="6310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5D6E6F48-65F2-CA86-7A41-E44FD9CC39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61938" y="1195296"/>
            <a:ext cx="663935" cy="54000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38D743D6-A5D7-E370-8742-D680DDFC27CB}"/>
              </a:ext>
            </a:extLst>
          </p:cNvPr>
          <p:cNvSpPr txBox="1"/>
          <p:nvPr/>
        </p:nvSpPr>
        <p:spPr>
          <a:xfrm>
            <a:off x="8144016" y="3845130"/>
            <a:ext cx="1487801" cy="5078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ts val="300"/>
              </a:spcAft>
            </a:pPr>
            <a:r>
              <a:rPr lang="en-US" sz="1100">
                <a:latin typeface="Avenir Next LT Pro" panose="020B0504020202020204" pitchFamily="34" charset="77"/>
              </a:rPr>
              <a:t>End-to-End supply chain visibility with actionable insights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568303D-85FD-C20E-081B-31FC6DB6D4C0}"/>
              </a:ext>
            </a:extLst>
          </p:cNvPr>
          <p:cNvSpPr txBox="1"/>
          <p:nvPr/>
        </p:nvSpPr>
        <p:spPr>
          <a:xfrm>
            <a:off x="10619292" y="3804103"/>
            <a:ext cx="1133428" cy="50783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ts val="300"/>
              </a:spcAft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Realtime </a:t>
            </a:r>
            <a:r>
              <a:rPr lang="en-US" sz="1100" err="1">
                <a:latin typeface="Avenir Next LT Pro"/>
              </a:rPr>
              <a:t>i</a:t>
            </a:r>
            <a:r>
              <a:rPr kumimoji="0" lang="en-US" sz="1100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Avenir Next LT Pro"/>
              </a:rPr>
              <a:t>nventory</a:t>
            </a:r>
            <a:r>
              <a:rPr kumimoji="0" 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 v</a:t>
            </a:r>
            <a:r>
              <a:rPr lang="en-US" sz="1100" err="1">
                <a:latin typeface="Avenir Next LT Pro"/>
              </a:rPr>
              <a:t>isibility</a:t>
            </a:r>
            <a:endParaRPr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7215C93-3B47-8191-AB8C-7D85C3849862}"/>
              </a:ext>
            </a:extLst>
          </p:cNvPr>
          <p:cNvSpPr txBox="1"/>
          <p:nvPr/>
        </p:nvSpPr>
        <p:spPr>
          <a:xfrm>
            <a:off x="8144016" y="4810201"/>
            <a:ext cx="1487801" cy="84638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ts val="300"/>
              </a:spcAft>
            </a:pPr>
            <a:r>
              <a:rPr kumimoji="0" lang="en-US" sz="11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Simplified</a:t>
            </a:r>
            <a:r>
              <a:rPr lang="en-US" sz="1100">
                <a:latin typeface="Avenir Next LT Pro"/>
              </a:rPr>
              <a:t> integration with GS1 electronic product code information standards (EPCIS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7DD24EF-6E68-F285-170E-E494F2DD8BD7}"/>
              </a:ext>
            </a:extLst>
          </p:cNvPr>
          <p:cNvSpPr txBox="1"/>
          <p:nvPr/>
        </p:nvSpPr>
        <p:spPr>
          <a:xfrm>
            <a:off x="10619681" y="4810201"/>
            <a:ext cx="1341319" cy="67710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ct val="0"/>
              </a:spcBef>
              <a:spcAft>
                <a:spcPts val="300"/>
              </a:spcAft>
            </a:pPr>
            <a:r>
              <a:rPr lang="en-US" sz="1100">
                <a:latin typeface="Avenir Next LT Pro"/>
              </a:rPr>
              <a:t>Industry leading read accuracy with proprietary on-reader solution</a:t>
            </a:r>
            <a:endParaRPr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EA7912D-72E3-1D35-C7E5-DEF747DBE8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51971" y="3804104"/>
            <a:ext cx="507831" cy="50783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CBBFD44-BBD1-4664-4A9C-C6379B119F3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899920" y="3845130"/>
            <a:ext cx="575850" cy="431888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78AD397-4A85-A8E7-058F-A43455C330D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390030" y="4840916"/>
            <a:ext cx="569772" cy="44640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B2708DB-A2FE-3052-24BF-FE74BDE503C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978161" y="4810201"/>
            <a:ext cx="497609" cy="479837"/>
          </a:xfrm>
          <a:prstGeom prst="rect">
            <a:avLst/>
          </a:prstGeom>
        </p:spPr>
      </p:pic>
      <p:pic>
        <p:nvPicPr>
          <p:cNvPr id="3074" name="Picture 2" descr="image">
            <a:extLst>
              <a:ext uri="{FF2B5EF4-FFF2-40B4-BE49-F238E27FC236}">
                <a16:creationId xmlns:a16="http://schemas.microsoft.com/office/drawing/2014/main" id="{F719C53B-74E5-BDD7-1C24-12BF55E204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2425" y="1808588"/>
            <a:ext cx="3550783" cy="217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41B06DB-24EB-95B2-B5A9-F3E530EE474F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5400" y="1984947"/>
            <a:ext cx="2927808" cy="1040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440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8749B9-DEF1-11D3-A025-C376330FA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0068" y="2761298"/>
            <a:ext cx="8971863" cy="670011"/>
          </a:xfrm>
        </p:spPr>
        <p:txBody>
          <a:bodyPr/>
          <a:lstStyle/>
          <a:p>
            <a:pPr algn="ctr"/>
            <a:r>
              <a:rPr lang="en-US">
                <a:solidFill>
                  <a:schemeClr val="tx2"/>
                </a:solidFill>
              </a:rPr>
              <a:t>Real-time, Actionable Insight Throughout Your Supply Chain</a:t>
            </a:r>
          </a:p>
        </p:txBody>
      </p:sp>
      <p:sp>
        <p:nvSpPr>
          <p:cNvPr id="22" name="Subtitle 49">
            <a:extLst>
              <a:ext uri="{FF2B5EF4-FFF2-40B4-BE49-F238E27FC236}">
                <a16:creationId xmlns:a16="http://schemas.microsoft.com/office/drawing/2014/main" id="{E5262B32-EB53-BCE8-5241-97D8580BBCB8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4DA833-40EA-8B4E-1083-3BA1880276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95BBA00D-1AC0-E82B-859E-EE82F0BD20D2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C2173F5-6432-465E-A768-2F9DE2D8ED5A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venir Next LT Pro" panose="020B0504020202020204" pitchFamily="34" charset="0"/>
              </a:rPr>
              <a:pPr algn="ctr">
                <a:defRPr/>
              </a:pPr>
              <a:t>6</a:t>
            </a:fld>
            <a:endParaRPr lang="en-US" sz="1200">
              <a:solidFill>
                <a:prstClr val="black">
                  <a:tint val="75000"/>
                </a:prstClr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12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1A7E21-0CC9-8F35-C258-CE0CF60678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1A7E21-0CC9-8F35-C258-CE0CF6067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588EE2-A5E9-4399-05EC-8556D7B6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8925" y="1160463"/>
            <a:ext cx="9803524" cy="997196"/>
          </a:xfrm>
        </p:spPr>
        <p:txBody>
          <a:bodyPr vert="horz"/>
          <a:lstStyle/>
          <a:p>
            <a:r>
              <a:rPr lang="pt-BR" err="1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End-to-End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 </a:t>
            </a: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CB00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Visibility</a:t>
            </a:r>
            <a:br>
              <a:rPr kumimoji="0" lang="en-US" sz="3600" b="0" i="0" u="none" strike="noStrike" kern="1200" cap="none" spc="0" normalizeH="0" baseline="0" noProof="0">
                <a:ln>
                  <a:noFill/>
                </a:ln>
                <a:gradFill flip="none" rotWithShape="1">
                  <a:gsLst>
                    <a:gs pos="21000">
                      <a:srgbClr val="7B94FC"/>
                    </a:gs>
                    <a:gs pos="0">
                      <a:srgbClr val="7B9BFF"/>
                    </a:gs>
                    <a:gs pos="100000">
                      <a:srgbClr val="7C5AE8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Avenir Next LT Pro Demi"/>
                <a:ea typeface="+mn-ea"/>
                <a:cs typeface="+mn-cs"/>
              </a:rPr>
            </a:br>
            <a:r>
              <a:rPr lang="en-US" sz="3600">
                <a:solidFill>
                  <a:schemeClr val="tx1"/>
                </a:solidFill>
              </a:rPr>
              <a:t>Across Your Value Chai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714991-1C29-E2AD-BE7E-8F2FCB5DF70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3568" y="2934822"/>
            <a:ext cx="2107782" cy="2749594"/>
          </a:xfrm>
          <a:prstGeom prst="roundRect">
            <a:avLst>
              <a:gd name="adj" fmla="val 1805"/>
            </a:avLst>
          </a:prstGeom>
          <a:effectLst/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6EB2DE8-CB65-1D4C-6A54-2C10CB402A3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27" b="-12440"/>
          <a:stretch/>
        </p:blipFill>
        <p:spPr>
          <a:xfrm>
            <a:off x="7390596" y="2934822"/>
            <a:ext cx="2103865" cy="2847380"/>
          </a:xfrm>
          <a:prstGeom prst="roundRect">
            <a:avLst>
              <a:gd name="adj" fmla="val 2608"/>
            </a:avLst>
          </a:prstGeom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630B1C2-6B39-386C-23C6-9FBD72E2715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1065" y="2934822"/>
            <a:ext cx="2103865" cy="2923766"/>
          </a:xfrm>
          <a:prstGeom prst="round2SameRect">
            <a:avLst>
              <a:gd name="adj1" fmla="val 2441"/>
              <a:gd name="adj2" fmla="val 0"/>
            </a:avLst>
          </a:prstGeom>
        </p:spPr>
      </p:pic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5BB104DC-3525-5479-CE47-5BCA30AD91CB}"/>
              </a:ext>
            </a:extLst>
          </p:cNvPr>
          <p:cNvSpPr txBox="1">
            <a:spLocks/>
          </p:cNvSpPr>
          <p:nvPr/>
        </p:nvSpPr>
        <p:spPr>
          <a:xfrm>
            <a:off x="2733568" y="5193005"/>
            <a:ext cx="2107782" cy="1341494"/>
          </a:xfrm>
          <a:prstGeom prst="roundRect">
            <a:avLst>
              <a:gd name="adj" fmla="val 5520"/>
            </a:avLst>
          </a:prstGeom>
          <a:solidFill>
            <a:srgbClr val="FFCB00"/>
          </a:solidFill>
        </p:spPr>
        <p:txBody>
          <a:bodyPr vert="horz" wrap="square" lIns="216000" tIns="216000" rIns="216000" bIns="21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Production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C8619DC4-3C1C-40E8-7AE8-06C20F28D97E}"/>
              </a:ext>
            </a:extLst>
          </p:cNvPr>
          <p:cNvSpPr txBox="1">
            <a:spLocks/>
          </p:cNvSpPr>
          <p:nvPr/>
        </p:nvSpPr>
        <p:spPr>
          <a:xfrm>
            <a:off x="5068046" y="5181501"/>
            <a:ext cx="2103866" cy="1341494"/>
          </a:xfrm>
          <a:prstGeom prst="roundRect">
            <a:avLst>
              <a:gd name="adj" fmla="val 5520"/>
            </a:avLst>
          </a:prstGeom>
          <a:solidFill>
            <a:srgbClr val="FFCB00"/>
          </a:solidFill>
        </p:spPr>
        <p:txBody>
          <a:bodyPr vert="horz" wrap="square" lIns="216000" tIns="216000" rIns="216000" bIns="21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>
                <a:solidFill>
                  <a:srgbClr val="272726"/>
                </a:solidFill>
                <a:latin typeface="Avenir Next LT Pro Demi" panose="020B0704020202020204" pitchFamily="34" charset="0"/>
              </a:rPr>
              <a:t>Storing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72726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15" name="Text Placeholder 22">
            <a:extLst>
              <a:ext uri="{FF2B5EF4-FFF2-40B4-BE49-F238E27FC236}">
                <a16:creationId xmlns:a16="http://schemas.microsoft.com/office/drawing/2014/main" id="{85FC9A81-021C-8F6B-2B84-729C52E2B19B}"/>
              </a:ext>
            </a:extLst>
          </p:cNvPr>
          <p:cNvSpPr txBox="1">
            <a:spLocks/>
          </p:cNvSpPr>
          <p:nvPr/>
        </p:nvSpPr>
        <p:spPr>
          <a:xfrm>
            <a:off x="7390596" y="5186663"/>
            <a:ext cx="2103865" cy="1341494"/>
          </a:xfrm>
          <a:prstGeom prst="roundRect">
            <a:avLst>
              <a:gd name="adj" fmla="val 5520"/>
            </a:avLst>
          </a:prstGeom>
          <a:solidFill>
            <a:srgbClr val="FFCB00"/>
          </a:solidFill>
        </p:spPr>
        <p:txBody>
          <a:bodyPr vert="horz" wrap="square" lIns="216000" tIns="216000" rIns="216000" bIns="21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Packagin</a:t>
            </a:r>
            <a:r>
              <a:rPr lang="en-US" sz="1600">
                <a:solidFill>
                  <a:srgbClr val="272726"/>
                </a:solidFill>
                <a:latin typeface="Avenir Next LT Pro Demi" panose="020B0704020202020204" pitchFamily="34" charset="0"/>
              </a:rPr>
              <a:t>g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72726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C9BC79B-619C-2DCB-5005-96406D204E1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2899"/>
          <a:stretch/>
        </p:blipFill>
        <p:spPr>
          <a:xfrm>
            <a:off x="9707770" y="2934822"/>
            <a:ext cx="2103865" cy="3016715"/>
          </a:xfrm>
          <a:prstGeom prst="round2SameRect">
            <a:avLst>
              <a:gd name="adj1" fmla="val 1984"/>
              <a:gd name="adj2" fmla="val 0"/>
            </a:avLst>
          </a:prstGeom>
        </p:spPr>
      </p:pic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B9D4C37E-09F4-4690-2BE6-2676388711CF}"/>
              </a:ext>
            </a:extLst>
          </p:cNvPr>
          <p:cNvSpPr txBox="1">
            <a:spLocks/>
          </p:cNvSpPr>
          <p:nvPr/>
        </p:nvSpPr>
        <p:spPr>
          <a:xfrm>
            <a:off x="9707770" y="5193005"/>
            <a:ext cx="2103865" cy="1341494"/>
          </a:xfrm>
          <a:prstGeom prst="roundRect">
            <a:avLst>
              <a:gd name="adj" fmla="val 5520"/>
            </a:avLst>
          </a:prstGeom>
          <a:solidFill>
            <a:srgbClr val="FFCB00"/>
          </a:solidFill>
        </p:spPr>
        <p:txBody>
          <a:bodyPr vert="horz" wrap="square" lIns="216000" tIns="216000" rIns="216000" bIns="21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 Demi"/>
              </a:rPr>
              <a:t>Shipping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srgbClr val="272726"/>
              </a:solidFill>
              <a:effectLst/>
              <a:uLnTx/>
              <a:uFillTx/>
              <a:latin typeface="Avenir Next LT Pro Dem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950CA4-511E-4AC2-EB14-DDABF8FBE8B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DF053D4-5673-4F8C-4A01-42CB97FCBD8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21"/>
          <a:stretch/>
        </p:blipFill>
        <p:spPr>
          <a:xfrm>
            <a:off x="411748" y="2934822"/>
            <a:ext cx="2107782" cy="2749594"/>
          </a:xfrm>
          <a:prstGeom prst="roundRect">
            <a:avLst>
              <a:gd name="adj" fmla="val 1805"/>
            </a:avLst>
          </a:prstGeom>
          <a:effectLst/>
        </p:spPr>
      </p:pic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0C76E96A-D6BC-632D-0AFD-54B6E045FE08}"/>
              </a:ext>
            </a:extLst>
          </p:cNvPr>
          <p:cNvSpPr txBox="1">
            <a:spLocks/>
          </p:cNvSpPr>
          <p:nvPr/>
        </p:nvSpPr>
        <p:spPr>
          <a:xfrm>
            <a:off x="411748" y="5193005"/>
            <a:ext cx="2107782" cy="1341494"/>
          </a:xfrm>
          <a:prstGeom prst="roundRect">
            <a:avLst>
              <a:gd name="adj" fmla="val 5520"/>
            </a:avLst>
          </a:prstGeom>
          <a:solidFill>
            <a:srgbClr val="FFCB00"/>
          </a:solidFill>
        </p:spPr>
        <p:txBody>
          <a:bodyPr vert="horz" wrap="square" lIns="216000" tIns="216000" rIns="216000" bIns="21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 2" panose="05020102010507070707" pitchFamily="18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Char char="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 Demi"/>
              </a:rPr>
              <a:t>Receiving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srgbClr val="272726"/>
              </a:solidFill>
              <a:effectLst/>
              <a:uLnTx/>
              <a:uFillTx/>
              <a:latin typeface="Avenir Next LT Pro Demi"/>
            </a:endParaRPr>
          </a:p>
        </p:txBody>
      </p:sp>
      <p:sp>
        <p:nvSpPr>
          <p:cNvPr id="3" name="Subtitle 49">
            <a:extLst>
              <a:ext uri="{FF2B5EF4-FFF2-40B4-BE49-F238E27FC236}">
                <a16:creationId xmlns:a16="http://schemas.microsoft.com/office/drawing/2014/main" id="{99A1AFEF-F7F9-6863-8F9C-16C084A04CF0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</p:spTree>
    <p:extLst>
      <p:ext uri="{BB962C8B-B14F-4D97-AF65-F5344CB8AC3E}">
        <p14:creationId xmlns:p14="http://schemas.microsoft.com/office/powerpoint/2010/main" val="32699612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8C1FA0-C4CC-A1A9-14B8-57A79024CA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8C1FA0-C4CC-A1A9-14B8-57A79024C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1977F-546F-4E31-8BA2-1212FF66D1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2173F5-6432-465E-A768-2F9DE2D8E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0" name="Subtitle 49">
            <a:extLst>
              <a:ext uri="{FF2B5EF4-FFF2-40B4-BE49-F238E27FC236}">
                <a16:creationId xmlns:a16="http://schemas.microsoft.com/office/drawing/2014/main" id="{A582F18F-298D-31F2-B24D-0CCFC4DDCE71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2933C0-0F4A-AA90-01E8-D1D816025AA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371" y="318729"/>
            <a:ext cx="691496" cy="48337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020A644-4AC9-1E79-3AD8-39D6D04D4530}"/>
              </a:ext>
            </a:extLst>
          </p:cNvPr>
          <p:cNvSpPr txBox="1">
            <a:spLocks/>
          </p:cNvSpPr>
          <p:nvPr/>
        </p:nvSpPr>
        <p:spPr>
          <a:xfrm>
            <a:off x="1558925" y="1160463"/>
            <a:ext cx="9803524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pt-BR" err="1">
                <a:solidFill>
                  <a:schemeClr val="tx1"/>
                </a:solidFill>
                <a:latin typeface="Avenir Next LT Pro Demi"/>
                <a:ea typeface="+mn-ea"/>
                <a:cs typeface="+mn-cs"/>
              </a:rPr>
              <a:t>End-to-End</a:t>
            </a:r>
            <a:r>
              <a:rPr lang="pt-BR">
                <a:solidFill>
                  <a:schemeClr val="tx2"/>
                </a:solidFill>
                <a:latin typeface="Avenir Next LT Pro Demi"/>
                <a:ea typeface="+mn-ea"/>
                <a:cs typeface="+mn-cs"/>
              </a:rPr>
              <a:t> </a:t>
            </a:r>
            <a:r>
              <a:rPr lang="pt-BR" err="1">
                <a:solidFill>
                  <a:srgbClr val="FFCB00"/>
                </a:solidFill>
                <a:latin typeface="Avenir Next LT Pro Demi"/>
                <a:ea typeface="+mn-ea"/>
                <a:cs typeface="+mn-cs"/>
              </a:rPr>
              <a:t>Visibility</a:t>
            </a:r>
            <a:br>
              <a:rPr lang="pt-BR">
                <a:gradFill flip="none" rotWithShape="1">
                  <a:gsLst>
                    <a:gs pos="21000">
                      <a:srgbClr val="7B94FC"/>
                    </a:gs>
                    <a:gs pos="0">
                      <a:srgbClr val="7B9BFF"/>
                    </a:gs>
                    <a:gs pos="100000">
                      <a:srgbClr val="7C5AE8"/>
                    </a:gs>
                  </a:gsLst>
                  <a:lin ang="0" scaled="1"/>
                  <a:tileRect/>
                </a:gradFill>
                <a:latin typeface="Avenir Next LT Pro Demi"/>
                <a:ea typeface="+mn-ea"/>
                <a:cs typeface="+mn-cs"/>
              </a:rPr>
            </a:br>
            <a:r>
              <a:rPr lang="pt-BR" err="1">
                <a:solidFill>
                  <a:schemeClr val="tx1"/>
                </a:solidFill>
              </a:rPr>
              <a:t>Across</a:t>
            </a:r>
            <a:r>
              <a:rPr lang="pt-BR">
                <a:solidFill>
                  <a:schemeClr val="tx1"/>
                </a:solidFill>
              </a:rPr>
              <a:t> </a:t>
            </a:r>
            <a:r>
              <a:rPr lang="pt-BR" err="1">
                <a:solidFill>
                  <a:schemeClr val="tx1"/>
                </a:solidFill>
              </a:rPr>
              <a:t>Your</a:t>
            </a:r>
            <a:r>
              <a:rPr lang="pt-BR">
                <a:solidFill>
                  <a:schemeClr val="tx1"/>
                </a:solidFill>
              </a:rPr>
              <a:t> </a:t>
            </a:r>
            <a:r>
              <a:rPr lang="pt-BR" err="1">
                <a:solidFill>
                  <a:schemeClr val="tx1"/>
                </a:solidFill>
              </a:rPr>
              <a:t>Value</a:t>
            </a:r>
            <a:r>
              <a:rPr lang="pt-BR">
                <a:solidFill>
                  <a:schemeClr val="tx1"/>
                </a:solidFill>
              </a:rPr>
              <a:t> Chain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4634992E-B306-0D61-CD96-7C1C8B7D1F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61096" y="2745335"/>
            <a:ext cx="2109893" cy="2880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image">
            <a:extLst>
              <a:ext uri="{FF2B5EF4-FFF2-40B4-BE49-F238E27FC236}">
                <a16:creationId xmlns:a16="http://schemas.microsoft.com/office/drawing/2014/main" id="{93E693BA-D305-6A0F-1459-33E6435478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8121" y="2549401"/>
            <a:ext cx="4024298" cy="3490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image">
            <a:extLst>
              <a:ext uri="{FF2B5EF4-FFF2-40B4-BE49-F238E27FC236}">
                <a16:creationId xmlns:a16="http://schemas.microsoft.com/office/drawing/2014/main" id="{FBE6E759-A8DA-5929-3FCD-CFC836C0E3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98512" y="3174641"/>
            <a:ext cx="1473749" cy="2451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image">
            <a:extLst>
              <a:ext uri="{FF2B5EF4-FFF2-40B4-BE49-F238E27FC236}">
                <a16:creationId xmlns:a16="http://schemas.microsoft.com/office/drawing/2014/main" id="{673D6D4D-FD6A-30F1-A4D4-3FA07461C1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64561" y="3174642"/>
            <a:ext cx="1493572" cy="2451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image">
            <a:extLst>
              <a:ext uri="{FF2B5EF4-FFF2-40B4-BE49-F238E27FC236}">
                <a16:creationId xmlns:a16="http://schemas.microsoft.com/office/drawing/2014/main" id="{F81CE791-29EF-6F4E-CF6D-0BF3D76A59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70989" y="2745335"/>
            <a:ext cx="1493572" cy="2880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mage">
            <a:extLst>
              <a:ext uri="{FF2B5EF4-FFF2-40B4-BE49-F238E27FC236}">
                <a16:creationId xmlns:a16="http://schemas.microsoft.com/office/drawing/2014/main" id="{3735F5FA-1530-DDE6-19D6-5121C9932B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50345" y="2724666"/>
            <a:ext cx="3549383" cy="60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F74D40-A25A-5DA4-FB5C-112447F41860}"/>
              </a:ext>
            </a:extLst>
          </p:cNvPr>
          <p:cNvSpPr txBox="1"/>
          <p:nvPr/>
        </p:nvSpPr>
        <p:spPr>
          <a:xfrm>
            <a:off x="5866971" y="5697537"/>
            <a:ext cx="7667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ceiv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8BA258-164C-E733-1FA7-F93C18E56E35}"/>
              </a:ext>
            </a:extLst>
          </p:cNvPr>
          <p:cNvSpPr txBox="1"/>
          <p:nvPr/>
        </p:nvSpPr>
        <p:spPr>
          <a:xfrm>
            <a:off x="7286246" y="5697536"/>
            <a:ext cx="8630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roduc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2413AE-2C2F-D271-AB20-E752B580D881}"/>
              </a:ext>
            </a:extLst>
          </p:cNvPr>
          <p:cNvSpPr txBox="1"/>
          <p:nvPr/>
        </p:nvSpPr>
        <p:spPr>
          <a:xfrm>
            <a:off x="8779818" y="5697535"/>
            <a:ext cx="8274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nspe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E2AC527-58EF-B393-FBB7-A0A2F4959534}"/>
              </a:ext>
            </a:extLst>
          </p:cNvPr>
          <p:cNvSpPr txBox="1"/>
          <p:nvPr/>
        </p:nvSpPr>
        <p:spPr>
          <a:xfrm>
            <a:off x="10083146" y="5697535"/>
            <a:ext cx="11641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inished Goods</a:t>
            </a:r>
          </a:p>
        </p:txBody>
      </p:sp>
    </p:spTree>
    <p:extLst>
      <p:ext uri="{BB962C8B-B14F-4D97-AF65-F5344CB8AC3E}">
        <p14:creationId xmlns:p14="http://schemas.microsoft.com/office/powerpoint/2010/main" val="39177316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30C9ABA-B428-B847-B29C-E8C3F1AACB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" y="0"/>
            <a:ext cx="6003562" cy="684832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01287F5-D758-2040-A26E-EFE3E93C5EF7}"/>
              </a:ext>
            </a:extLst>
          </p:cNvPr>
          <p:cNvSpPr/>
          <p:nvPr/>
        </p:nvSpPr>
        <p:spPr>
          <a:xfrm>
            <a:off x="69" y="21016"/>
            <a:ext cx="6003700" cy="6858000"/>
          </a:xfrm>
          <a:prstGeom prst="rect">
            <a:avLst/>
          </a:prstGeom>
          <a:solidFill>
            <a:schemeClr val="tx1">
              <a:alpha val="4445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B081B14-219A-378C-231D-3F88D6BFC5A9}"/>
              </a:ext>
            </a:extLst>
          </p:cNvPr>
          <p:cNvSpPr/>
          <p:nvPr/>
        </p:nvSpPr>
        <p:spPr>
          <a:xfrm>
            <a:off x="7636131" y="3766233"/>
            <a:ext cx="1989132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Poor </a:t>
            </a:r>
            <a:r>
              <a:rPr lang="en-US" sz="1400">
                <a:latin typeface="Avenir Next LT Pro"/>
              </a:rPr>
              <a:t>RFID read behavior and </a:t>
            </a:r>
          </a:p>
          <a:p>
            <a:pPr fontAlgn="base">
              <a:defRPr/>
            </a:pPr>
            <a:r>
              <a:rPr lang="en-US" sz="1400">
                <a:latin typeface="Avenir Next LT Pro"/>
              </a:rPr>
              <a:t>performance</a:t>
            </a:r>
            <a:endParaRPr lang="en-US" sz="1400" i="0" u="none" strike="noStrike" kern="1200" cap="none" spc="0" normalizeH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EFA9ABE-E6C5-9E28-D1B2-AD65225C2DE6}"/>
              </a:ext>
            </a:extLst>
          </p:cNvPr>
          <p:cNvSpPr/>
          <p:nvPr/>
        </p:nvSpPr>
        <p:spPr>
          <a:xfrm>
            <a:off x="10067230" y="3766233"/>
            <a:ext cx="1334169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lang="en-US" sz="1400">
                <a:latin typeface="Avenir Next LT Pro"/>
              </a:rPr>
              <a:t>Multi-vendor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 </a:t>
            </a:r>
            <a:r>
              <a:rPr lang="en-US" sz="1400">
                <a:latin typeface="Avenir Next LT Pro"/>
              </a:rPr>
              <a:t>delivery and coordination</a:t>
            </a:r>
            <a:endParaRPr kumimoji="0"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 panose="020B0504020202020204" pitchFamily="34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4CAF62-D789-DF77-8A50-AF14E244AA04}"/>
              </a:ext>
            </a:extLst>
          </p:cNvPr>
          <p:cNvSpPr/>
          <p:nvPr/>
        </p:nvSpPr>
        <p:spPr>
          <a:xfrm>
            <a:off x="7640432" y="4791685"/>
            <a:ext cx="1320688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lang="en-US" sz="1400">
                <a:latin typeface="Avenir Next LT Pro"/>
              </a:rPr>
              <a:t>Non-scalable identification standard</a:t>
            </a:r>
            <a:endParaRPr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C27FCB-67F3-D624-4275-49FBDE1536A7}"/>
              </a:ext>
            </a:extLst>
          </p:cNvPr>
          <p:cNvSpPr/>
          <p:nvPr/>
        </p:nvSpPr>
        <p:spPr>
          <a:xfrm>
            <a:off x="10077797" y="4791774"/>
            <a:ext cx="1606203" cy="73866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base">
              <a:defRPr/>
            </a:pPr>
            <a:r>
              <a:rPr kumimoji="0" lang="en-US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venir Next LT Pro"/>
              </a:rPr>
              <a:t>High </a:t>
            </a:r>
            <a:r>
              <a:rPr lang="en-US" sz="1400">
                <a:latin typeface="Avenir Next LT Pro"/>
              </a:rPr>
              <a:t>integration costs and lengthy project timelines</a:t>
            </a:r>
            <a:endParaRPr lang="en-US" sz="1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venir Next LT Pro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481AE38-6C00-5D71-DBB2-25DED7A2C69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567" y="3804330"/>
            <a:ext cx="484470" cy="48447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A4E72AC-5DE9-FF82-1178-74C93F319D3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567" y="4918782"/>
            <a:ext cx="484470" cy="48447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639CBC4-178B-C46E-2475-3F1B27546CF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9540" y="3804983"/>
            <a:ext cx="484470" cy="48447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F1C2897-CB93-B7FC-B8EC-2C82BF971F5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68706" y="4918782"/>
            <a:ext cx="484470" cy="484470"/>
          </a:xfrm>
          <a:prstGeom prst="rect">
            <a:avLst/>
          </a:prstGeom>
        </p:spPr>
      </p:pic>
      <p:sp>
        <p:nvSpPr>
          <p:cNvPr id="28" name="Title 4">
            <a:extLst>
              <a:ext uri="{FF2B5EF4-FFF2-40B4-BE49-F238E27FC236}">
                <a16:creationId xmlns:a16="http://schemas.microsoft.com/office/drawing/2014/main" id="{70DF3AB5-F1B5-5DF2-4DFA-2BD24F44A93F}"/>
              </a:ext>
            </a:extLst>
          </p:cNvPr>
          <p:cNvSpPr txBox="1">
            <a:spLocks/>
          </p:cNvSpPr>
          <p:nvPr/>
        </p:nvSpPr>
        <p:spPr>
          <a:xfrm>
            <a:off x="6890526" y="1053087"/>
            <a:ext cx="5015148" cy="14957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600" b="0" i="0" u="none" strike="noStrike" kern="1200" cap="none" spc="0" normalizeH="0" baseline="0" dirty="0">
                <a:ln>
                  <a:noFill/>
                </a:ln>
                <a:solidFill>
                  <a:srgbClr val="272726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Without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 a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Pu</a:t>
            </a:r>
            <a:r>
              <a:rPr lang="pt-BR" err="1">
                <a:solidFill>
                  <a:schemeClr val="tx1"/>
                </a:solidFill>
              </a:rPr>
              <a:t>rpose-Built</a:t>
            </a:r>
            <a:r>
              <a:rPr lang="pt-BR">
                <a:solidFill>
                  <a:schemeClr val="tx1"/>
                </a:solidFill>
              </a:rPr>
              <a:t> </a:t>
            </a:r>
            <a:r>
              <a:rPr kumimoji="0" lang="pt-BR" sz="3600" b="0" i="0" u="none" strike="noStrike" kern="1200" cap="none" spc="0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</a:rPr>
              <a:t>RFID </a:t>
            </a:r>
            <a:r>
              <a:rPr kumimoji="0" lang="pt-BR" sz="3600" b="0" i="0" u="none" strike="noStrike" kern="1200" cap="none" spc="0" normalizeH="0" baseline="0" noProof="0" err="1">
                <a:ln>
                  <a:noFill/>
                </a:ln>
                <a:solidFill>
                  <a:srgbClr val="FFCB00"/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</a:rPr>
              <a:t>Clo</a:t>
            </a:r>
            <a:r>
              <a:rPr lang="pt-BR" err="1">
                <a:solidFill>
                  <a:srgbClr val="FFCB00"/>
                </a:solidFill>
                <a:latin typeface="Avenir Next LT Pro Demi"/>
              </a:rPr>
              <a:t>ud</a:t>
            </a:r>
            <a:r>
              <a:rPr lang="pt-BR">
                <a:solidFill>
                  <a:srgbClr val="FFCB00"/>
                </a:solidFill>
                <a:latin typeface="Avenir Next LT Pro Demi"/>
              </a:rPr>
              <a:t> Software</a:t>
            </a:r>
            <a:r>
              <a:rPr lang="pt-BR">
                <a:solidFill>
                  <a:schemeClr val="tx1"/>
                </a:solidFill>
              </a:rPr>
              <a:t>, </a:t>
            </a:r>
            <a:r>
              <a:rPr lang="pt-BR" err="1">
                <a:solidFill>
                  <a:schemeClr val="tx1"/>
                </a:solidFill>
              </a:rPr>
              <a:t>You</a:t>
            </a:r>
            <a:r>
              <a:rPr lang="pt-BR">
                <a:solidFill>
                  <a:schemeClr val="tx1"/>
                </a:solidFill>
              </a:rPr>
              <a:t> Observe:</a:t>
            </a:r>
            <a:endParaRPr kumimoji="0" lang="pt-BR" sz="36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C882FDF-4798-9D44-4283-7E2ECC00FB77}"/>
              </a:ext>
            </a:extLst>
          </p:cNvPr>
          <p:cNvSpPr/>
          <p:nvPr/>
        </p:nvSpPr>
        <p:spPr>
          <a:xfrm flipH="1">
            <a:off x="3057524" y="-377"/>
            <a:ext cx="2946175" cy="6858000"/>
          </a:xfrm>
          <a:prstGeom prst="rect">
            <a:avLst/>
          </a:prstGeom>
          <a:gradFill>
            <a:gsLst>
              <a:gs pos="100000">
                <a:srgbClr val="272726">
                  <a:alpha val="0"/>
                </a:srgbClr>
              </a:gs>
              <a:gs pos="0">
                <a:srgbClr val="FFB300">
                  <a:alpha val="70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EAC4866-413A-36A9-1F38-CD5FD841C419}"/>
              </a:ext>
            </a:extLst>
          </p:cNvPr>
          <p:cNvSpPr txBox="1">
            <a:spLocks/>
          </p:cNvSpPr>
          <p:nvPr/>
        </p:nvSpPr>
        <p:spPr>
          <a:xfrm>
            <a:off x="11537015" y="6356350"/>
            <a:ext cx="4467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C2173F5-6432-465E-A768-2F9DE2D8ED5A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Avenir Next LT Pro" panose="020B0504020202020204" pitchFamily="34" charset="0"/>
              </a:rPr>
              <a:pPr algn="ctr">
                <a:defRPr/>
              </a:pPr>
              <a:t>9</a:t>
            </a:fld>
            <a:endParaRPr lang="en-US" sz="1200">
              <a:solidFill>
                <a:prstClr val="black">
                  <a:tint val="75000"/>
                </a:prstClr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" name="Subtitle 49">
            <a:extLst>
              <a:ext uri="{FF2B5EF4-FFF2-40B4-BE49-F238E27FC236}">
                <a16:creationId xmlns:a16="http://schemas.microsoft.com/office/drawing/2014/main" id="{09E38F77-E0DE-9C0F-0B7F-9F51D6F384DE}"/>
              </a:ext>
            </a:extLst>
          </p:cNvPr>
          <p:cNvSpPr txBox="1">
            <a:spLocks/>
          </p:cNvSpPr>
          <p:nvPr/>
        </p:nvSpPr>
        <p:spPr>
          <a:xfrm>
            <a:off x="9197182" y="286967"/>
            <a:ext cx="2478881" cy="306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 spc="27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88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66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49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32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anose="050201020105070707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15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9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8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06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27" normalizeH="0" baseline="0" noProof="0">
                <a:ln>
                  <a:noFill/>
                </a:ln>
                <a:solidFill>
                  <a:srgbClr val="2D2E34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t>RFID AUTOMATION SOLUTION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527CFF9-D611-94BF-DA38-BB717819591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259" y="21016"/>
            <a:ext cx="1192602" cy="107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800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evata">
      <a:dk1>
        <a:srgbClr val="000000"/>
      </a:dk1>
      <a:lt1>
        <a:srgbClr val="FFFFFF"/>
      </a:lt1>
      <a:dk2>
        <a:srgbClr val="2D2E34"/>
      </a:dk2>
      <a:lt2>
        <a:srgbClr val="FFF8F0"/>
      </a:lt2>
      <a:accent1>
        <a:srgbClr val="7B9BFF"/>
      </a:accent1>
      <a:accent2>
        <a:srgbClr val="6BBDF3"/>
      </a:accent2>
      <a:accent3>
        <a:srgbClr val="7C5AE8"/>
      </a:accent3>
      <a:accent4>
        <a:srgbClr val="000000"/>
      </a:accent4>
      <a:accent5>
        <a:srgbClr val="EBF0FF"/>
      </a:accent5>
      <a:accent6>
        <a:srgbClr val="003079"/>
      </a:accent6>
      <a:hlink>
        <a:srgbClr val="FF3666"/>
      </a:hlink>
      <a:folHlink>
        <a:srgbClr val="F8EEE2"/>
      </a:folHlink>
    </a:clrScheme>
    <a:fontScheme name="Custom 44">
      <a:majorFont>
        <a:latin typeface="Franklin Gothic Medium"/>
        <a:ea typeface=""/>
        <a:cs typeface=""/>
      </a:majorFont>
      <a:minorFont>
        <a:latin typeface="Franklin Gothic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vert="horz" wrap="square" lIns="0" tIns="0" rIns="0" bIns="0" rtlCol="0" anchor="t">
        <a:sp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300"/>
          </a:spcAft>
          <a:buClrTx/>
          <a:buSzTx/>
          <a:buFontTx/>
          <a:buNone/>
          <a:tabLst/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Franklin Gothic Medium" panose="020B0603020102020204" pitchFamily="34" charset="0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LS_SLSView SW Deck_02.23.24" id="{E125F78A-3B35-A543-A2C2-50787E34B68F}" vid="{A56D63A6-AC6A-B641-AD55-51B361B79B16}"/>
    </a:ext>
  </a:extLst>
</a:theme>
</file>

<file path=ppt/theme/theme2.xml><?xml version="1.0" encoding="utf-8"?>
<a:theme xmlns:a="http://schemas.openxmlformats.org/drawingml/2006/main" name="Custom Slides">
  <a:themeElements>
    <a:clrScheme name="Barcode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78F1E"/>
      </a:accent1>
      <a:accent2>
        <a:srgbClr val="58595B"/>
      </a:accent2>
      <a:accent3>
        <a:srgbClr val="A5A5A5"/>
      </a:accent3>
      <a:accent4>
        <a:srgbClr val="393433"/>
      </a:accent4>
      <a:accent5>
        <a:srgbClr val="000000"/>
      </a:accent5>
      <a:accent6>
        <a:srgbClr val="E7E6E6"/>
      </a:accent6>
      <a:hlink>
        <a:srgbClr val="F78F1E"/>
      </a:hlink>
      <a:folHlink>
        <a:srgbClr val="393433"/>
      </a:folHlink>
    </a:clrScheme>
    <a:fontScheme name="Barcodes fonts">
      <a:majorFont>
        <a:latin typeface="FranklinGothicURWDem"/>
        <a:ea typeface=""/>
        <a:cs typeface=""/>
      </a:majorFont>
      <a:minorFont>
        <a:latin typeface="FranklinGothicURWBo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S_SLSView SW Deck_02.23.24" id="{E125F78A-3B35-A543-A2C2-50787E34B68F}" vid="{D88786ED-DA54-B947-B540-9A263558F11C}"/>
    </a:ext>
  </a:extLst>
</a:theme>
</file>

<file path=ppt/theme/theme3.xml><?xml version="1.0" encoding="utf-8"?>
<a:theme xmlns:a="http://schemas.openxmlformats.org/drawingml/2006/main" name="Blue Template">
  <a:themeElements>
    <a:clrScheme name="Custom 1">
      <a:dk1>
        <a:srgbClr val="000000"/>
      </a:dk1>
      <a:lt1>
        <a:srgbClr val="FFFFFF"/>
      </a:lt1>
      <a:dk2>
        <a:srgbClr val="2D2E34"/>
      </a:dk2>
      <a:lt2>
        <a:srgbClr val="FFF8F0"/>
      </a:lt2>
      <a:accent1>
        <a:srgbClr val="7B9BFF"/>
      </a:accent1>
      <a:accent2>
        <a:srgbClr val="6BBDF3"/>
      </a:accent2>
      <a:accent3>
        <a:srgbClr val="7C5AE8"/>
      </a:accent3>
      <a:accent4>
        <a:srgbClr val="000000"/>
      </a:accent4>
      <a:accent5>
        <a:srgbClr val="EBF0FF"/>
      </a:accent5>
      <a:accent6>
        <a:srgbClr val="003079"/>
      </a:accent6>
      <a:hlink>
        <a:srgbClr val="FF3666"/>
      </a:hlink>
      <a:folHlink>
        <a:srgbClr val="F8EEE2"/>
      </a:folHlink>
    </a:clrScheme>
    <a:fontScheme name="Custom 132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S_SLSView SW Deck_02.23.24" id="{E125F78A-3B35-A543-A2C2-50787E34B68F}" vid="{1E10DB9F-665E-8346-9867-2797A265B4FA}"/>
    </a:ext>
  </a:extLst>
</a:theme>
</file>

<file path=ppt/theme/theme4.xml><?xml version="1.0" encoding="utf-8"?>
<a:theme xmlns:a="http://schemas.openxmlformats.org/drawingml/2006/main" name="1_Custom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S_SLSView SW Deck_02.23.24" id="{E125F78A-3B35-A543-A2C2-50787E34B68F}" vid="{6080E5F8-115D-6844-85EE-7143AA66BC5E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S_SLSView SW Deck_02.23.24" id="{E125F78A-3B35-A543-A2C2-50787E34B68F}" vid="{0C432AFE-2EF3-834A-B3DD-76F99692F977}"/>
    </a:ext>
  </a:extLst>
</a:theme>
</file>

<file path=ppt/theme/theme6.xml><?xml version="1.0" encoding="utf-8"?>
<a:theme xmlns:a="http://schemas.openxmlformats.org/drawingml/2006/main" name="1_Blue Template">
  <a:themeElements>
    <a:clrScheme name="Custom 6">
      <a:dk1>
        <a:srgbClr val="000000"/>
      </a:dk1>
      <a:lt1>
        <a:srgbClr val="FFFFFF"/>
      </a:lt1>
      <a:dk2>
        <a:srgbClr val="2D2E34"/>
      </a:dk2>
      <a:lt2>
        <a:srgbClr val="FFF8F0"/>
      </a:lt2>
      <a:accent1>
        <a:srgbClr val="7070FF"/>
      </a:accent1>
      <a:accent2>
        <a:srgbClr val="784DFF"/>
      </a:accent2>
      <a:accent3>
        <a:srgbClr val="1898FF"/>
      </a:accent3>
      <a:accent4>
        <a:srgbClr val="000021"/>
      </a:accent4>
      <a:accent5>
        <a:srgbClr val="EBF0FF"/>
      </a:accent5>
      <a:accent6>
        <a:srgbClr val="003079"/>
      </a:accent6>
      <a:hlink>
        <a:srgbClr val="FF3666"/>
      </a:hlink>
      <a:folHlink>
        <a:srgbClr val="F8EEE2"/>
      </a:folHlink>
    </a:clrScheme>
    <a:fontScheme name="Custom 132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S_SLSView SW Deck_02.23.24" id="{E125F78A-3B35-A543-A2C2-50787E34B68F}" vid="{FF47DF1E-4EA7-A34E-82DE-1809878F833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98E9812FE9B54D9E8EC2FC75E5BB4C" ma:contentTypeVersion="15" ma:contentTypeDescription="Create a new document." ma:contentTypeScope="" ma:versionID="fb5f3190a0bf73e6494d4587b8a0b8fa">
  <xsd:schema xmlns:xsd="http://www.w3.org/2001/XMLSchema" xmlns:xs="http://www.w3.org/2001/XMLSchema" xmlns:p="http://schemas.microsoft.com/office/2006/metadata/properties" xmlns:ns2="22655e04-0647-406e-a164-3447758a160e" xmlns:ns3="6ab60c97-fdbb-4f73-ae4e-95b4dedd1dc1" targetNamespace="http://schemas.microsoft.com/office/2006/metadata/properties" ma:root="true" ma:fieldsID="186030a417e24f1fa99c7c34675a4a8f" ns2:_="" ns3:_="">
    <xsd:import namespace="22655e04-0647-406e-a164-3447758a160e"/>
    <xsd:import namespace="6ab60c97-fdbb-4f73-ae4e-95b4dedd1d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655e04-0647-406e-a164-3447758a16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7e909642-f9a6-4c7b-80d1-bf84c4b4e6f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b60c97-fdbb-4f73-ae4e-95b4dedd1dc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1f5f4c63-7b22-4fc1-97e1-b0e462b6607f}" ma:internalName="TaxCatchAll" ma:showField="CatchAllData" ma:web="6ab60c97-fdbb-4f73-ae4e-95b4dedd1dc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ab60c97-fdbb-4f73-ae4e-95b4dedd1dc1" xsi:nil="true"/>
    <lcf76f155ced4ddcb4097134ff3c332f xmlns="22655e04-0647-406e-a164-3447758a160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7A6BAF-A349-4904-B3B3-E79786EE4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2655e04-0647-406e-a164-3447758a160e"/>
    <ds:schemaRef ds:uri="6ab60c97-fdbb-4f73-ae4e-95b4dedd1d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CC1DC69-9F9F-436D-831C-616A2CD55F79}">
  <ds:schemaRefs>
    <ds:schemaRef ds:uri="http://purl.org/dc/terms/"/>
    <ds:schemaRef ds:uri="http://purl.org/dc/dcmitype/"/>
    <ds:schemaRef ds:uri="http://schemas.microsoft.com/office/infopath/2007/PartnerControls"/>
    <ds:schemaRef ds:uri="7bcc3279-a720-443f-b69e-ed81f05b9333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7efb8072-09d0-47f8-971e-b6745749109e"/>
    <ds:schemaRef ds:uri="http://schemas.microsoft.com/office/2006/metadata/properties"/>
    <ds:schemaRef ds:uri="6ab60c97-fdbb-4f73-ae4e-95b4dedd1dc1"/>
    <ds:schemaRef ds:uri="22655e04-0647-406e-a164-3447758a160e"/>
  </ds:schemaRefs>
</ds:datastoreItem>
</file>

<file path=customXml/itemProps3.xml><?xml version="1.0" encoding="utf-8"?>
<ds:datastoreItem xmlns:ds="http://schemas.openxmlformats.org/officeDocument/2006/customXml" ds:itemID="{64961EC6-8594-4C31-852C-CDC5EBB7107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</TotalTime>
  <Words>1838</Words>
  <Application>Microsoft Macintosh PowerPoint</Application>
  <PresentationFormat>Widescreen</PresentationFormat>
  <Paragraphs>442</Paragraphs>
  <Slides>3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3" baseType="lpstr">
      <vt:lpstr>Arial</vt:lpstr>
      <vt:lpstr>Avenir Medium</vt:lpstr>
      <vt:lpstr>Avenir Next LT Pro</vt:lpstr>
      <vt:lpstr>Avenir Next LT Pro Demi</vt:lpstr>
      <vt:lpstr>Calibri</vt:lpstr>
      <vt:lpstr>Calibri Light</vt:lpstr>
      <vt:lpstr>Franklin Gothic Medium</vt:lpstr>
      <vt:lpstr>FranklinGothicURWBoo</vt:lpstr>
      <vt:lpstr>FranklinGothicURWDem</vt:lpstr>
      <vt:lpstr>Google Sans</vt:lpstr>
      <vt:lpstr>Segoe UI</vt:lpstr>
      <vt:lpstr>System Font Regular</vt:lpstr>
      <vt:lpstr>Tw Cen MT</vt:lpstr>
      <vt:lpstr>Wingdings 2</vt:lpstr>
      <vt:lpstr>Office Theme</vt:lpstr>
      <vt:lpstr>Custom Slides</vt:lpstr>
      <vt:lpstr>Blue Template</vt:lpstr>
      <vt:lpstr>1_Custom Slides</vt:lpstr>
      <vt:lpstr>1_Office Theme</vt:lpstr>
      <vt:lpstr>1_Blue Template</vt:lpstr>
      <vt:lpstr>think-cell Slide</vt:lpstr>
      <vt:lpstr>PowerPoint Presentation</vt:lpstr>
      <vt:lpstr>Levata</vt:lpstr>
      <vt:lpstr>PowerPoint Presentation</vt:lpstr>
      <vt:lpstr>PowerPoint Presentation</vt:lpstr>
      <vt:lpstr>SLSVIEW software</vt:lpstr>
      <vt:lpstr>Real-time, Actionable Insight Throughout Your Supply Chain</vt:lpstr>
      <vt:lpstr>End-to-End Visibility Across Your Value Chain</vt:lpstr>
      <vt:lpstr>PowerPoint Presentation</vt:lpstr>
      <vt:lpstr>PowerPoint Presentation</vt:lpstr>
      <vt:lpstr>PowerPoint Presentation</vt:lpstr>
      <vt:lpstr>Workflows</vt:lpstr>
      <vt:lpstr>RFID Automation Workflows Powered by SLSVIEW</vt:lpstr>
      <vt:lpstr>1. Print with RFID</vt:lpstr>
      <vt:lpstr>2. Order Fulfillment Verification</vt:lpstr>
      <vt:lpstr>3. Inventory Management          </vt:lpstr>
      <vt:lpstr>4. Returnable Container Tracking</vt:lpstr>
      <vt:lpstr>5. Shipment Verification </vt:lpstr>
      <vt:lpstr>SLSVIEW Architecture</vt:lpstr>
      <vt:lpstr>SLSVIEW Software Suite</vt:lpstr>
      <vt:lpstr>PowerPoint Presentation</vt:lpstr>
      <vt:lpstr>ROI Achieved with SLSVIEW</vt:lpstr>
      <vt:lpstr>PowerPoint Presentation</vt:lpstr>
      <vt:lpstr>PowerPoint Presentation</vt:lpstr>
      <vt:lpstr>Appendix</vt:lpstr>
      <vt:lpstr>PowerPoint Presentation</vt:lpstr>
      <vt:lpstr>Workflow Example: Shipment Verification</vt:lpstr>
      <vt:lpstr>Shipment Verification </vt:lpstr>
      <vt:lpstr>Shipment Verification </vt:lpstr>
      <vt:lpstr>Shipment Verification </vt:lpstr>
      <vt:lpstr>Shipment Verification </vt:lpstr>
      <vt:lpstr>Shipment Verification </vt:lpstr>
      <vt:lpstr>Shipment Verification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>Manthan Pawar</dc:creator>
  <cp:keywords/>
  <dc:description/>
  <cp:lastModifiedBy>Manthan Pawar</cp:lastModifiedBy>
  <cp:revision>1</cp:revision>
  <cp:lastPrinted>2023-07-12T12:15:35Z</cp:lastPrinted>
  <dcterms:created xsi:type="dcterms:W3CDTF">2024-05-20T19:24:35Z</dcterms:created>
  <dcterms:modified xsi:type="dcterms:W3CDTF">2024-05-20T19:26:5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98E9812FE9B54D9E8EC2FC75E5BB4C</vt:lpwstr>
  </property>
  <property fmtid="{D5CDD505-2E9C-101B-9397-08002B2CF9AE}" pid="3" name="MediaServiceImageTags">
    <vt:lpwstr/>
  </property>
</Properties>
</file>